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1.xml" ContentType="application/vnd.openxmlformats-officedocument.drawingml.chart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2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3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charts/chart4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charts/chart7.xml" ContentType="application/vnd.openxmlformats-officedocument.drawingml.chart+xml"/>
  <Override PartName="/ppt/drawings/drawing1.xml" ContentType="application/vnd.openxmlformats-officedocument.drawingml.chartshape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charts/chart8.xml" ContentType="application/vnd.openxmlformats-officedocument.drawingml.chart+xml"/>
  <Override PartName="/ppt/drawings/drawing2.xml" ContentType="application/vnd.openxmlformats-officedocument.drawingml.chartshape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10" r:id="rId4"/>
    <p:sldMasterId id="2147483828" r:id="rId5"/>
  </p:sldMasterIdLst>
  <p:notesMasterIdLst>
    <p:notesMasterId r:id="rId28"/>
  </p:notesMasterIdLst>
  <p:handoutMasterIdLst>
    <p:handoutMasterId r:id="rId29"/>
  </p:handoutMasterIdLst>
  <p:sldIdLst>
    <p:sldId id="2146847761" r:id="rId6"/>
    <p:sldId id="282" r:id="rId7"/>
    <p:sldId id="2146847755" r:id="rId8"/>
    <p:sldId id="2146847760" r:id="rId9"/>
    <p:sldId id="2146847742" r:id="rId10"/>
    <p:sldId id="2146847756" r:id="rId11"/>
    <p:sldId id="2146847732" r:id="rId12"/>
    <p:sldId id="2146847772" r:id="rId13"/>
    <p:sldId id="2146847757" r:id="rId14"/>
    <p:sldId id="2146847764" r:id="rId15"/>
    <p:sldId id="2146847765" r:id="rId16"/>
    <p:sldId id="2146847763" r:id="rId17"/>
    <p:sldId id="2146847771" r:id="rId18"/>
    <p:sldId id="2146847758" r:id="rId19"/>
    <p:sldId id="2146847745" r:id="rId20"/>
    <p:sldId id="2146847737" r:id="rId21"/>
    <p:sldId id="2146847766" r:id="rId22"/>
    <p:sldId id="2146847770" r:id="rId23"/>
    <p:sldId id="2146847767" r:id="rId24"/>
    <p:sldId id="2146847759" r:id="rId25"/>
    <p:sldId id="2146847768" r:id="rId26"/>
    <p:sldId id="2146847773" r:id="rId27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99BD"/>
    <a:srgbClr val="5078B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516" autoAdjust="0"/>
    <p:restoredTop sz="81918" autoAdjust="0"/>
  </p:normalViewPr>
  <p:slideViewPr>
    <p:cSldViewPr snapToGrid="0" snapToObjects="1">
      <p:cViewPr varScale="1">
        <p:scale>
          <a:sx n="80" d="100"/>
          <a:sy n="80" d="100"/>
        </p:scale>
        <p:origin x="384" y="4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90" d="100"/>
          <a:sy n="90" d="100"/>
        </p:scale>
        <p:origin x="3840" y="1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Relationship Id="rId35" Type="http://schemas.microsoft.com/office/2016/11/relationships/changesInfo" Target="changesInfos/changesInfo1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e Ka Lok" userId="f1e07847-564e-4dd8-8ab9-c7c6289a93ff" providerId="ADAL" clId="{5AB16904-4FF2-4B10-AA6F-545F59AE96D7}"/>
    <pc:docChg chg="modSld">
      <pc:chgData name="Lee Ka Lok" userId="f1e07847-564e-4dd8-8ab9-c7c6289a93ff" providerId="ADAL" clId="{5AB16904-4FF2-4B10-AA6F-545F59AE96D7}" dt="2022-07-08T23:29:25.904" v="9" actId="6549"/>
      <pc:docMkLst>
        <pc:docMk/>
      </pc:docMkLst>
      <pc:sldChg chg="modSp mod">
        <pc:chgData name="Lee Ka Lok" userId="f1e07847-564e-4dd8-8ab9-c7c6289a93ff" providerId="ADAL" clId="{5AB16904-4FF2-4B10-AA6F-545F59AE96D7}" dt="2022-07-08T23:29:25.904" v="9" actId="6549"/>
        <pc:sldMkLst>
          <pc:docMk/>
          <pc:sldMk cId="18822224" sldId="2146847745"/>
        </pc:sldMkLst>
        <pc:spChg chg="mod">
          <ac:chgData name="Lee Ka Lok" userId="f1e07847-564e-4dd8-8ab9-c7c6289a93ff" providerId="ADAL" clId="{5AB16904-4FF2-4B10-AA6F-545F59AE96D7}" dt="2022-07-08T23:29:25.904" v="9" actId="6549"/>
          <ac:spMkLst>
            <pc:docMk/>
            <pc:sldMk cId="18822224" sldId="2146847745"/>
            <ac:spMk id="49" creationId="{BA66692C-A573-4E22-9DFF-598E13B87555}"/>
          </ac:spMkLst>
        </pc:spChg>
      </pc:sldChg>
    </pc:docChg>
  </pc:docChgLst>
  <pc:docChgLst>
    <pc:chgData name="Jaganathan Srihari" userId="28c62603-3041-4ce7-8f3a-596797870e34" providerId="ADAL" clId="{F1011C88-5C31-4C03-89D8-1EC9CFED2D52}"/>
    <pc:docChg chg="undo redo custSel addSld delSld modSld">
      <pc:chgData name="Jaganathan Srihari" userId="28c62603-3041-4ce7-8f3a-596797870e34" providerId="ADAL" clId="{F1011C88-5C31-4C03-89D8-1EC9CFED2D52}" dt="2022-05-17T17:58:18.135" v="1722" actId="1076"/>
      <pc:docMkLst>
        <pc:docMk/>
      </pc:docMkLst>
      <pc:sldChg chg="del">
        <pc:chgData name="Jaganathan Srihari" userId="28c62603-3041-4ce7-8f3a-596797870e34" providerId="ADAL" clId="{F1011C88-5C31-4C03-89D8-1EC9CFED2D52}" dt="2022-05-17T17:34:02.494" v="1086" actId="47"/>
        <pc:sldMkLst>
          <pc:docMk/>
          <pc:sldMk cId="3776420253" sldId="2146847733"/>
        </pc:sldMkLst>
      </pc:sldChg>
      <pc:sldChg chg="modSp del">
        <pc:chgData name="Jaganathan Srihari" userId="28c62603-3041-4ce7-8f3a-596797870e34" providerId="ADAL" clId="{F1011C88-5C31-4C03-89D8-1EC9CFED2D52}" dt="2022-05-17T17:34:30.943" v="1135" actId="47"/>
        <pc:sldMkLst>
          <pc:docMk/>
          <pc:sldMk cId="112549040" sldId="2146847736"/>
        </pc:sldMkLst>
        <pc:spChg chg="mod">
          <ac:chgData name="Jaganathan Srihari" userId="28c62603-3041-4ce7-8f3a-596797870e34" providerId="ADAL" clId="{F1011C88-5C31-4C03-89D8-1EC9CFED2D52}" dt="2022-05-17T17:31:56.466" v="339" actId="20578"/>
          <ac:spMkLst>
            <pc:docMk/>
            <pc:sldMk cId="112549040" sldId="2146847736"/>
            <ac:spMk id="9" creationId="{488EA667-8BBF-4414-97E5-00DD761C4C8F}"/>
          </ac:spMkLst>
        </pc:spChg>
      </pc:sldChg>
      <pc:sldChg chg="del">
        <pc:chgData name="Jaganathan Srihari" userId="28c62603-3041-4ce7-8f3a-596797870e34" providerId="ADAL" clId="{F1011C88-5C31-4C03-89D8-1EC9CFED2D52}" dt="2022-05-17T17:27:41.133" v="41" actId="47"/>
        <pc:sldMkLst>
          <pc:docMk/>
          <pc:sldMk cId="888794378" sldId="2146847740"/>
        </pc:sldMkLst>
      </pc:sldChg>
      <pc:sldChg chg="addSp delSp modSp mod">
        <pc:chgData name="Jaganathan Srihari" userId="28c62603-3041-4ce7-8f3a-596797870e34" providerId="ADAL" clId="{F1011C88-5C31-4C03-89D8-1EC9CFED2D52}" dt="2022-05-17T17:50:59.025" v="1676" actId="1076"/>
        <pc:sldMkLst>
          <pc:docMk/>
          <pc:sldMk cId="2718332860" sldId="2146847742"/>
        </pc:sldMkLst>
        <pc:spChg chg="mod">
          <ac:chgData name="Jaganathan Srihari" userId="28c62603-3041-4ce7-8f3a-596797870e34" providerId="ADAL" clId="{F1011C88-5C31-4C03-89D8-1EC9CFED2D52}" dt="2022-05-17T17:48:39.020" v="1565" actId="1076"/>
          <ac:spMkLst>
            <pc:docMk/>
            <pc:sldMk cId="2718332860" sldId="2146847742"/>
            <ac:spMk id="3" creationId="{D0852C1C-9D3B-4743-8BED-4E9970226F76}"/>
          </ac:spMkLst>
        </pc:spChg>
        <pc:spChg chg="add del mod">
          <ac:chgData name="Jaganathan Srihari" userId="28c62603-3041-4ce7-8f3a-596797870e34" providerId="ADAL" clId="{F1011C88-5C31-4C03-89D8-1EC9CFED2D52}" dt="2022-05-17T17:50:02.019" v="1577"/>
          <ac:spMkLst>
            <pc:docMk/>
            <pc:sldMk cId="2718332860" sldId="2146847742"/>
            <ac:spMk id="14" creationId="{74AFA874-129A-49AE-A360-3D17E5F3483D}"/>
          </ac:spMkLst>
        </pc:spChg>
        <pc:spChg chg="add mod">
          <ac:chgData name="Jaganathan Srihari" userId="28c62603-3041-4ce7-8f3a-596797870e34" providerId="ADAL" clId="{F1011C88-5C31-4C03-89D8-1EC9CFED2D52}" dt="2022-05-17T17:50:56.379" v="1675" actId="1076"/>
          <ac:spMkLst>
            <pc:docMk/>
            <pc:sldMk cId="2718332860" sldId="2146847742"/>
            <ac:spMk id="15" creationId="{D9CD38C6-C9E0-4317-838C-5F56857C8613}"/>
          </ac:spMkLst>
        </pc:spChg>
        <pc:spChg chg="mod">
          <ac:chgData name="Jaganathan Srihari" userId="28c62603-3041-4ce7-8f3a-596797870e34" providerId="ADAL" clId="{F1011C88-5C31-4C03-89D8-1EC9CFED2D52}" dt="2022-05-17T17:41:48.893" v="1331" actId="1076"/>
          <ac:spMkLst>
            <pc:docMk/>
            <pc:sldMk cId="2718332860" sldId="2146847742"/>
            <ac:spMk id="18" creationId="{ABD95A92-6BC6-4484-ABB6-B87B4819E506}"/>
          </ac:spMkLst>
        </pc:spChg>
        <pc:spChg chg="mod">
          <ac:chgData name="Jaganathan Srihari" userId="28c62603-3041-4ce7-8f3a-596797870e34" providerId="ADAL" clId="{F1011C88-5C31-4C03-89D8-1EC9CFED2D52}" dt="2022-05-17T17:50:59.025" v="1676" actId="1076"/>
          <ac:spMkLst>
            <pc:docMk/>
            <pc:sldMk cId="2718332860" sldId="2146847742"/>
            <ac:spMk id="21" creationId="{A3A12ED2-F94E-43E3-9E9F-B445AD8CC6ED}"/>
          </ac:spMkLst>
        </pc:spChg>
      </pc:sldChg>
      <pc:sldChg chg="addSp delSp modSp mod">
        <pc:chgData name="Jaganathan Srihari" userId="28c62603-3041-4ce7-8f3a-596797870e34" providerId="ADAL" clId="{F1011C88-5C31-4C03-89D8-1EC9CFED2D52}" dt="2022-05-17T17:42:44.299" v="1337" actId="14100"/>
        <pc:sldMkLst>
          <pc:docMk/>
          <pc:sldMk cId="18822224" sldId="2146847745"/>
        </pc:sldMkLst>
        <pc:spChg chg="del mod">
          <ac:chgData name="Jaganathan Srihari" userId="28c62603-3041-4ce7-8f3a-596797870e34" providerId="ADAL" clId="{F1011C88-5C31-4C03-89D8-1EC9CFED2D52}" dt="2022-05-17T17:37:34.910" v="1292" actId="478"/>
          <ac:spMkLst>
            <pc:docMk/>
            <pc:sldMk cId="18822224" sldId="2146847745"/>
            <ac:spMk id="24" creationId="{CC40E7BA-81C9-4274-9AD5-BD4B9B091966}"/>
          </ac:spMkLst>
        </pc:spChg>
        <pc:spChg chg="add del mod">
          <ac:chgData name="Jaganathan Srihari" userId="28c62603-3041-4ce7-8f3a-596797870e34" providerId="ADAL" clId="{F1011C88-5C31-4C03-89D8-1EC9CFED2D52}" dt="2022-05-17T17:36:35.493" v="1253"/>
          <ac:spMkLst>
            <pc:docMk/>
            <pc:sldMk cId="18822224" sldId="2146847745"/>
            <ac:spMk id="43" creationId="{189F4523-9FC4-4F1E-9A82-6661CAD438C4}"/>
          </ac:spMkLst>
        </pc:spChg>
        <pc:spChg chg="add del mod">
          <ac:chgData name="Jaganathan Srihari" userId="28c62603-3041-4ce7-8f3a-596797870e34" providerId="ADAL" clId="{F1011C88-5C31-4C03-89D8-1EC9CFED2D52}" dt="2022-05-17T17:36:48.479" v="1257"/>
          <ac:spMkLst>
            <pc:docMk/>
            <pc:sldMk cId="18822224" sldId="2146847745"/>
            <ac:spMk id="44" creationId="{7A414798-FD63-4C29-91B5-7B779B5929CD}"/>
          </ac:spMkLst>
        </pc:spChg>
        <pc:spChg chg="add del mod">
          <ac:chgData name="Jaganathan Srihari" userId="28c62603-3041-4ce7-8f3a-596797870e34" providerId="ADAL" clId="{F1011C88-5C31-4C03-89D8-1EC9CFED2D52}" dt="2022-05-17T17:37:06.277" v="1268"/>
          <ac:spMkLst>
            <pc:docMk/>
            <pc:sldMk cId="18822224" sldId="2146847745"/>
            <ac:spMk id="45" creationId="{59B5F8E5-C585-4D15-A955-6D94A290F867}"/>
          </ac:spMkLst>
        </pc:spChg>
        <pc:spChg chg="add mod">
          <ac:chgData name="Jaganathan Srihari" userId="28c62603-3041-4ce7-8f3a-596797870e34" providerId="ADAL" clId="{F1011C88-5C31-4C03-89D8-1EC9CFED2D52}" dt="2022-05-17T17:37:48.030" v="1293" actId="108"/>
          <ac:spMkLst>
            <pc:docMk/>
            <pc:sldMk cId="18822224" sldId="2146847745"/>
            <ac:spMk id="51" creationId="{09303EC0-BE86-4A78-8C3D-A8F7D89DE5EF}"/>
          </ac:spMkLst>
        </pc:spChg>
        <pc:spChg chg="mod">
          <ac:chgData name="Jaganathan Srihari" userId="28c62603-3041-4ce7-8f3a-596797870e34" providerId="ADAL" clId="{F1011C88-5C31-4C03-89D8-1EC9CFED2D52}" dt="2022-05-17T17:42:44.299" v="1337" actId="14100"/>
          <ac:spMkLst>
            <pc:docMk/>
            <pc:sldMk cId="18822224" sldId="2146847745"/>
            <ac:spMk id="59" creationId="{1FEE6415-ECDF-4DE1-A0CF-2E5E7F72EEAD}"/>
          </ac:spMkLst>
        </pc:spChg>
      </pc:sldChg>
      <pc:sldChg chg="del">
        <pc:chgData name="Jaganathan Srihari" userId="28c62603-3041-4ce7-8f3a-596797870e34" providerId="ADAL" clId="{F1011C88-5C31-4C03-89D8-1EC9CFED2D52}" dt="2022-05-17T17:30:37.907" v="198" actId="47"/>
        <pc:sldMkLst>
          <pc:docMk/>
          <pc:sldMk cId="3895723175" sldId="2146847747"/>
        </pc:sldMkLst>
      </pc:sldChg>
      <pc:sldChg chg="modSp mod">
        <pc:chgData name="Jaganathan Srihari" userId="28c62603-3041-4ce7-8f3a-596797870e34" providerId="ADAL" clId="{F1011C88-5C31-4C03-89D8-1EC9CFED2D52}" dt="2022-05-17T17:56:12.767" v="1706" actId="114"/>
        <pc:sldMkLst>
          <pc:docMk/>
          <pc:sldMk cId="3520058884" sldId="2146847760"/>
        </pc:sldMkLst>
        <pc:spChg chg="mod">
          <ac:chgData name="Jaganathan Srihari" userId="28c62603-3041-4ce7-8f3a-596797870e34" providerId="ADAL" clId="{F1011C88-5C31-4C03-89D8-1EC9CFED2D52}" dt="2022-05-17T17:49:14.734" v="1566" actId="255"/>
          <ac:spMkLst>
            <pc:docMk/>
            <pc:sldMk cId="3520058884" sldId="2146847760"/>
            <ac:spMk id="16" creationId="{89CE91CE-A2E1-4788-91A6-8DDEFA9E5181}"/>
          </ac:spMkLst>
        </pc:spChg>
        <pc:spChg chg="mod">
          <ac:chgData name="Jaganathan Srihari" userId="28c62603-3041-4ce7-8f3a-596797870e34" providerId="ADAL" clId="{F1011C88-5C31-4C03-89D8-1EC9CFED2D52}" dt="2022-05-17T17:55:42.217" v="1703" actId="12"/>
          <ac:spMkLst>
            <pc:docMk/>
            <pc:sldMk cId="3520058884" sldId="2146847760"/>
            <ac:spMk id="18" creationId="{F3273DEE-753F-4346-A383-EE671904158A}"/>
          </ac:spMkLst>
        </pc:spChg>
        <pc:spChg chg="mod">
          <ac:chgData name="Jaganathan Srihari" userId="28c62603-3041-4ce7-8f3a-596797870e34" providerId="ADAL" clId="{F1011C88-5C31-4C03-89D8-1EC9CFED2D52}" dt="2022-05-17T17:55:57.271" v="1704" actId="12"/>
          <ac:spMkLst>
            <pc:docMk/>
            <pc:sldMk cId="3520058884" sldId="2146847760"/>
            <ac:spMk id="21" creationId="{9C22E38F-174D-4DDF-AF8E-0AF8D14FB7B6}"/>
          </ac:spMkLst>
        </pc:spChg>
        <pc:spChg chg="mod">
          <ac:chgData name="Jaganathan Srihari" userId="28c62603-3041-4ce7-8f3a-596797870e34" providerId="ADAL" clId="{F1011C88-5C31-4C03-89D8-1EC9CFED2D52}" dt="2022-05-17T17:56:12.767" v="1706" actId="114"/>
          <ac:spMkLst>
            <pc:docMk/>
            <pc:sldMk cId="3520058884" sldId="2146847760"/>
            <ac:spMk id="24" creationId="{A50A458F-87EA-45DB-9004-D8C95D416D51}"/>
          </ac:spMkLst>
        </pc:spChg>
        <pc:grpChg chg="mod">
          <ac:chgData name="Jaganathan Srihari" userId="28c62603-3041-4ce7-8f3a-596797870e34" providerId="ADAL" clId="{F1011C88-5C31-4C03-89D8-1EC9CFED2D52}" dt="2022-05-17T17:41:17.172" v="1326" actId="1076"/>
          <ac:grpSpMkLst>
            <pc:docMk/>
            <pc:sldMk cId="3520058884" sldId="2146847760"/>
            <ac:grpSpMk id="23" creationId="{95C58E88-DF0B-4C05-860D-101A8D6F8D6D}"/>
          </ac:grpSpMkLst>
        </pc:grpChg>
      </pc:sldChg>
      <pc:sldChg chg="modSp mod">
        <pc:chgData name="Jaganathan Srihari" userId="28c62603-3041-4ce7-8f3a-596797870e34" providerId="ADAL" clId="{F1011C88-5C31-4C03-89D8-1EC9CFED2D52}" dt="2022-05-17T17:42:08.886" v="1335" actId="1076"/>
        <pc:sldMkLst>
          <pc:docMk/>
          <pc:sldMk cId="4186341048" sldId="2146847761"/>
        </pc:sldMkLst>
        <pc:spChg chg="mod">
          <ac:chgData name="Jaganathan Srihari" userId="28c62603-3041-4ce7-8f3a-596797870e34" providerId="ADAL" clId="{F1011C88-5C31-4C03-89D8-1EC9CFED2D52}" dt="2022-05-17T17:42:02.883" v="1333" actId="1076"/>
          <ac:spMkLst>
            <pc:docMk/>
            <pc:sldMk cId="4186341048" sldId="2146847761"/>
            <ac:spMk id="2" creationId="{5EE87F2E-C3A7-47CF-96F3-5688B267DCB6}"/>
          </ac:spMkLst>
        </pc:spChg>
        <pc:spChg chg="mod">
          <ac:chgData name="Jaganathan Srihari" userId="28c62603-3041-4ce7-8f3a-596797870e34" providerId="ADAL" clId="{F1011C88-5C31-4C03-89D8-1EC9CFED2D52}" dt="2022-05-17T17:42:05.857" v="1334" actId="1076"/>
          <ac:spMkLst>
            <pc:docMk/>
            <pc:sldMk cId="4186341048" sldId="2146847761"/>
            <ac:spMk id="6" creationId="{B058D32B-CB89-48DB-9BA3-A044AAD17D54}"/>
          </ac:spMkLst>
        </pc:spChg>
        <pc:spChg chg="mod">
          <ac:chgData name="Jaganathan Srihari" userId="28c62603-3041-4ce7-8f3a-596797870e34" providerId="ADAL" clId="{F1011C88-5C31-4C03-89D8-1EC9CFED2D52}" dt="2022-05-17T17:42:08.886" v="1335" actId="1076"/>
          <ac:spMkLst>
            <pc:docMk/>
            <pc:sldMk cId="4186341048" sldId="2146847761"/>
            <ac:spMk id="7" creationId="{2AA35278-B992-48E0-85A5-D6A51A481C4D}"/>
          </ac:spMkLst>
        </pc:spChg>
      </pc:sldChg>
      <pc:sldChg chg="modSp mod">
        <pc:chgData name="Jaganathan Srihari" userId="28c62603-3041-4ce7-8f3a-596797870e34" providerId="ADAL" clId="{F1011C88-5C31-4C03-89D8-1EC9CFED2D52}" dt="2022-05-17T17:54:18.555" v="1702" actId="122"/>
        <pc:sldMkLst>
          <pc:docMk/>
          <pc:sldMk cId="1665488127" sldId="2146847763"/>
        </pc:sldMkLst>
        <pc:spChg chg="mod">
          <ac:chgData name="Jaganathan Srihari" userId="28c62603-3041-4ce7-8f3a-596797870e34" providerId="ADAL" clId="{F1011C88-5C31-4C03-89D8-1EC9CFED2D52}" dt="2022-05-17T17:53:37.636" v="1691" actId="2711"/>
          <ac:spMkLst>
            <pc:docMk/>
            <pc:sldMk cId="1665488127" sldId="2146847763"/>
            <ac:spMk id="164" creationId="{45495269-3E29-4F59-A432-6DB3AD60EF22}"/>
          </ac:spMkLst>
        </pc:spChg>
        <pc:spChg chg="mod">
          <ac:chgData name="Jaganathan Srihari" userId="28c62603-3041-4ce7-8f3a-596797870e34" providerId="ADAL" clId="{F1011C88-5C31-4C03-89D8-1EC9CFED2D52}" dt="2022-05-17T17:54:18.555" v="1702" actId="122"/>
          <ac:spMkLst>
            <pc:docMk/>
            <pc:sldMk cId="1665488127" sldId="2146847763"/>
            <ac:spMk id="183" creationId="{687B7FB1-8FBA-49EA-8AA6-243BA8E3DCD7}"/>
          </ac:spMkLst>
        </pc:spChg>
        <pc:graphicFrameChg chg="mod">
          <ac:chgData name="Jaganathan Srihari" userId="28c62603-3041-4ce7-8f3a-596797870e34" providerId="ADAL" clId="{F1011C88-5C31-4C03-89D8-1EC9CFED2D52}" dt="2022-05-17T17:53:43.662" v="1692" actId="2711"/>
          <ac:graphicFrameMkLst>
            <pc:docMk/>
            <pc:sldMk cId="1665488127" sldId="2146847763"/>
            <ac:graphicFrameMk id="166" creationId="{5CDB616A-BC2B-4254-BF98-22F6F1F842A6}"/>
          </ac:graphicFrameMkLst>
        </pc:graphicFrameChg>
      </pc:sldChg>
      <pc:sldChg chg="addSp delSp modSp mod">
        <pc:chgData name="Jaganathan Srihari" userId="28c62603-3041-4ce7-8f3a-596797870e34" providerId="ADAL" clId="{F1011C88-5C31-4C03-89D8-1EC9CFED2D52}" dt="2022-05-17T17:39:43.667" v="1320" actId="1076"/>
        <pc:sldMkLst>
          <pc:docMk/>
          <pc:sldMk cId="1496936456" sldId="2146847764"/>
        </pc:sldMkLst>
        <pc:spChg chg="add del">
          <ac:chgData name="Jaganathan Srihari" userId="28c62603-3041-4ce7-8f3a-596797870e34" providerId="ADAL" clId="{F1011C88-5C31-4C03-89D8-1EC9CFED2D52}" dt="2022-05-17T17:38:14.827" v="1296" actId="22"/>
          <ac:spMkLst>
            <pc:docMk/>
            <pc:sldMk cId="1496936456" sldId="2146847764"/>
            <ac:spMk id="23" creationId="{06B19D7F-A2E7-4FC2-B7C0-919621EB17BA}"/>
          </ac:spMkLst>
        </pc:spChg>
        <pc:spChg chg="add mod">
          <ac:chgData name="Jaganathan Srihari" userId="28c62603-3041-4ce7-8f3a-596797870e34" providerId="ADAL" clId="{F1011C88-5C31-4C03-89D8-1EC9CFED2D52}" dt="2022-05-17T17:39:43.667" v="1320" actId="1076"/>
          <ac:spMkLst>
            <pc:docMk/>
            <pc:sldMk cId="1496936456" sldId="2146847764"/>
            <ac:spMk id="24" creationId="{C705312E-768B-4799-A33E-E28C72D5B907}"/>
          </ac:spMkLst>
        </pc:spChg>
        <pc:spChg chg="del mod">
          <ac:chgData name="Jaganathan Srihari" userId="28c62603-3041-4ce7-8f3a-596797870e34" providerId="ADAL" clId="{F1011C88-5C31-4C03-89D8-1EC9CFED2D52}" dt="2022-05-17T17:39:39.947" v="1319" actId="478"/>
          <ac:spMkLst>
            <pc:docMk/>
            <pc:sldMk cId="1496936456" sldId="2146847764"/>
            <ac:spMk id="44" creationId="{D846F9D0-6DAA-46D7-B0C1-48D4B07849F8}"/>
          </ac:spMkLst>
        </pc:spChg>
      </pc:sldChg>
      <pc:sldChg chg="addSp delSp modSp mod">
        <pc:chgData name="Jaganathan Srihari" userId="28c62603-3041-4ce7-8f3a-596797870e34" providerId="ADAL" clId="{F1011C88-5C31-4C03-89D8-1EC9CFED2D52}" dt="2022-05-17T17:30:44.993" v="254"/>
        <pc:sldMkLst>
          <pc:docMk/>
          <pc:sldMk cId="764693508" sldId="2146847766"/>
        </pc:sldMkLst>
        <pc:spChg chg="add del mod modVis">
          <ac:chgData name="Jaganathan Srihari" userId="28c62603-3041-4ce7-8f3a-596797870e34" providerId="ADAL" clId="{F1011C88-5C31-4C03-89D8-1EC9CFED2D52}" dt="2022-05-17T17:30:44.977" v="239"/>
          <ac:spMkLst>
            <pc:docMk/>
            <pc:sldMk cId="764693508" sldId="2146847766"/>
            <ac:spMk id="5" creationId="{54B73502-A886-4320-8A1E-79A0F21860B7}"/>
          </ac:spMkLst>
        </pc:spChg>
        <pc:spChg chg="mod">
          <ac:chgData name="Jaganathan Srihari" userId="28c62603-3041-4ce7-8f3a-596797870e34" providerId="ADAL" clId="{F1011C88-5C31-4C03-89D8-1EC9CFED2D52}" dt="2022-05-17T17:30:44.965" v="200" actId="948"/>
          <ac:spMkLst>
            <pc:docMk/>
            <pc:sldMk cId="764693508" sldId="2146847766"/>
            <ac:spMk id="7" creationId="{1320096B-8FEF-DA47-B4BE-108A90B77D19}"/>
          </ac:spMkLst>
        </pc:spChg>
        <pc:graphicFrameChg chg="add mod ord modVis">
          <ac:chgData name="Jaganathan Srihari" userId="28c62603-3041-4ce7-8f3a-596797870e34" providerId="ADAL" clId="{F1011C88-5C31-4C03-89D8-1EC9CFED2D52}" dt="2022-05-17T17:30:44.993" v="254"/>
          <ac:graphicFrameMkLst>
            <pc:docMk/>
            <pc:sldMk cId="764693508" sldId="2146847766"/>
            <ac:graphicFrameMk id="9" creationId="{EF5613F7-4AA8-422A-A00D-54D009890FFF}"/>
          </ac:graphicFrameMkLst>
        </pc:graphicFrameChg>
      </pc:sldChg>
      <pc:sldChg chg="addSp delSp modSp mod">
        <pc:chgData name="Jaganathan Srihari" userId="28c62603-3041-4ce7-8f3a-596797870e34" providerId="ADAL" clId="{F1011C88-5C31-4C03-89D8-1EC9CFED2D52}" dt="2022-05-17T17:28:29.731" v="72" actId="1076"/>
        <pc:sldMkLst>
          <pc:docMk/>
          <pc:sldMk cId="4043647397" sldId="2146847767"/>
        </pc:sldMkLst>
        <pc:spChg chg="add mod">
          <ac:chgData name="Jaganathan Srihari" userId="28c62603-3041-4ce7-8f3a-596797870e34" providerId="ADAL" clId="{F1011C88-5C31-4C03-89D8-1EC9CFED2D52}" dt="2022-05-17T17:28:29.731" v="72" actId="1076"/>
          <ac:spMkLst>
            <pc:docMk/>
            <pc:sldMk cId="4043647397" sldId="2146847767"/>
            <ac:spMk id="21" creationId="{B0622C95-06EB-4BFF-A78E-E44229FE4E44}"/>
          </ac:spMkLst>
        </pc:spChg>
        <pc:spChg chg="del">
          <ac:chgData name="Jaganathan Srihari" userId="28c62603-3041-4ce7-8f3a-596797870e34" providerId="ADAL" clId="{F1011C88-5C31-4C03-89D8-1EC9CFED2D52}" dt="2022-05-17T17:28:25.451" v="71" actId="478"/>
          <ac:spMkLst>
            <pc:docMk/>
            <pc:sldMk cId="4043647397" sldId="2146847767"/>
            <ac:spMk id="24" creationId="{63E755A8-FDC8-434C-A765-961246ED6456}"/>
          </ac:spMkLst>
        </pc:spChg>
      </pc:sldChg>
      <pc:sldChg chg="addSp delSp modSp new add mod">
        <pc:chgData name="Jaganathan Srihari" userId="28c62603-3041-4ce7-8f3a-596797870e34" providerId="ADAL" clId="{F1011C88-5C31-4C03-89D8-1EC9CFED2D52}" dt="2022-05-17T17:51:35.467" v="1677" actId="14100"/>
        <pc:sldMkLst>
          <pc:docMk/>
          <pc:sldMk cId="3715395140" sldId="2146847768"/>
        </pc:sldMkLst>
        <pc:spChg chg="del">
          <ac:chgData name="Jaganathan Srihari" userId="28c62603-3041-4ce7-8f3a-596797870e34" providerId="ADAL" clId="{F1011C88-5C31-4C03-89D8-1EC9CFED2D52}" dt="2022-05-17T17:26:29.112" v="2" actId="478"/>
          <ac:spMkLst>
            <pc:docMk/>
            <pc:sldMk cId="3715395140" sldId="2146847768"/>
            <ac:spMk id="2" creationId="{890B10C4-ED7B-4E28-8918-FBC18505D161}"/>
          </ac:spMkLst>
        </pc:spChg>
        <pc:spChg chg="mod">
          <ac:chgData name="Jaganathan Srihari" userId="28c62603-3041-4ce7-8f3a-596797870e34" providerId="ADAL" clId="{F1011C88-5C31-4C03-89D8-1EC9CFED2D52}" dt="2022-05-17T17:51:35.467" v="1677" actId="14100"/>
          <ac:spMkLst>
            <pc:docMk/>
            <pc:sldMk cId="3715395140" sldId="2146847768"/>
            <ac:spMk id="4" creationId="{D2528BAF-0AA3-442C-A484-51484376F6BD}"/>
          </ac:spMkLst>
        </pc:spChg>
        <pc:spChg chg="mod">
          <ac:chgData name="Jaganathan Srihari" userId="28c62603-3041-4ce7-8f3a-596797870e34" providerId="ADAL" clId="{F1011C88-5C31-4C03-89D8-1EC9CFED2D52}" dt="2022-05-17T17:27:36.541" v="40" actId="255"/>
          <ac:spMkLst>
            <pc:docMk/>
            <pc:sldMk cId="3715395140" sldId="2146847768"/>
            <ac:spMk id="5" creationId="{1486F13F-5E5C-419E-8751-EA2909C4247E}"/>
          </ac:spMkLst>
        </pc:spChg>
        <pc:graphicFrameChg chg="add mod ord modVis">
          <ac:chgData name="Jaganathan Srihari" userId="28c62603-3041-4ce7-8f3a-596797870e34" providerId="ADAL" clId="{F1011C88-5C31-4C03-89D8-1EC9CFED2D52}" dt="2022-05-17T17:26:29.666" v="17"/>
          <ac:graphicFrameMkLst>
            <pc:docMk/>
            <pc:sldMk cId="3715395140" sldId="2146847768"/>
            <ac:graphicFrameMk id="6" creationId="{7A45FCE0-AF42-4B2C-B86E-3AF44B04AC54}"/>
          </ac:graphicFrameMkLst>
        </pc:graphicFrameChg>
      </pc:sldChg>
      <pc:sldChg chg="addSp delSp modSp new add del mod">
        <pc:chgData name="Jaganathan Srihari" userId="28c62603-3041-4ce7-8f3a-596797870e34" providerId="ADAL" clId="{F1011C88-5C31-4C03-89D8-1EC9CFED2D52}" dt="2022-05-17T17:56:36.553" v="1707" actId="47"/>
        <pc:sldMkLst>
          <pc:docMk/>
          <pc:sldMk cId="1467953242" sldId="2146847769"/>
        </pc:sldMkLst>
        <pc:spChg chg="del">
          <ac:chgData name="Jaganathan Srihari" userId="28c62603-3041-4ce7-8f3a-596797870e34" providerId="ADAL" clId="{F1011C88-5C31-4C03-89D8-1EC9CFED2D52}" dt="2022-05-17T17:27:51.712" v="45" actId="478"/>
          <ac:spMkLst>
            <pc:docMk/>
            <pc:sldMk cId="1467953242" sldId="2146847769"/>
            <ac:spMk id="2" creationId="{78574C54-9C36-4D41-A1EF-AFF1683F57F5}"/>
          </ac:spMkLst>
        </pc:spChg>
        <pc:spChg chg="mod">
          <ac:chgData name="Jaganathan Srihari" userId="28c62603-3041-4ce7-8f3a-596797870e34" providerId="ADAL" clId="{F1011C88-5C31-4C03-89D8-1EC9CFED2D52}" dt="2022-05-17T17:36:54.224" v="1266" actId="20577"/>
          <ac:spMkLst>
            <pc:docMk/>
            <pc:sldMk cId="1467953242" sldId="2146847769"/>
            <ac:spMk id="4" creationId="{75DCF637-972C-4824-8F19-7FB9494F8E88}"/>
          </ac:spMkLst>
        </pc:spChg>
        <pc:spChg chg="mod">
          <ac:chgData name="Jaganathan Srihari" userId="28c62603-3041-4ce7-8f3a-596797870e34" providerId="ADAL" clId="{F1011C88-5C31-4C03-89D8-1EC9CFED2D52}" dt="2022-05-17T17:50:20.833" v="1582" actId="108"/>
          <ac:spMkLst>
            <pc:docMk/>
            <pc:sldMk cId="1467953242" sldId="2146847769"/>
            <ac:spMk id="5" creationId="{4A95FAA0-B7C5-4A7B-A628-4EED3AE51D50}"/>
          </ac:spMkLst>
        </pc:spChg>
        <pc:graphicFrameChg chg="add mod ord modVis">
          <ac:chgData name="Jaganathan Srihari" userId="28c62603-3041-4ce7-8f3a-596797870e34" providerId="ADAL" clId="{F1011C88-5C31-4C03-89D8-1EC9CFED2D52}" dt="2022-05-17T17:27:52.229" v="60"/>
          <ac:graphicFrameMkLst>
            <pc:docMk/>
            <pc:sldMk cId="1467953242" sldId="2146847769"/>
            <ac:graphicFrameMk id="6" creationId="{5D255618-C897-4B24-8C0F-0AA06909FA9B}"/>
          </ac:graphicFrameMkLst>
        </pc:graphicFrameChg>
      </pc:sldChg>
      <pc:sldChg chg="addSp delSp modSp new add mod">
        <pc:chgData name="Jaganathan Srihari" userId="28c62603-3041-4ce7-8f3a-596797870e34" providerId="ADAL" clId="{F1011C88-5C31-4C03-89D8-1EC9CFED2D52}" dt="2022-05-17T17:40:33.006" v="1322" actId="2711"/>
        <pc:sldMkLst>
          <pc:docMk/>
          <pc:sldMk cId="3046441546" sldId="2146847770"/>
        </pc:sldMkLst>
        <pc:spChg chg="mod">
          <ac:chgData name="Jaganathan Srihari" userId="28c62603-3041-4ce7-8f3a-596797870e34" providerId="ADAL" clId="{F1011C88-5C31-4C03-89D8-1EC9CFED2D52}" dt="2022-05-17T17:28:49.711" v="93" actId="948"/>
          <ac:spMkLst>
            <pc:docMk/>
            <pc:sldMk cId="3046441546" sldId="2146847770"/>
            <ac:spMk id="2" creationId="{D18785FA-34D3-4993-A1EB-CDDF9F60F573}"/>
          </ac:spMkLst>
        </pc:spChg>
        <pc:spChg chg="mod">
          <ac:chgData name="Jaganathan Srihari" userId="28c62603-3041-4ce7-8f3a-596797870e34" providerId="ADAL" clId="{F1011C88-5C31-4C03-89D8-1EC9CFED2D52}" dt="2022-05-17T17:40:33.006" v="1322" actId="2711"/>
          <ac:spMkLst>
            <pc:docMk/>
            <pc:sldMk cId="3046441546" sldId="2146847770"/>
            <ac:spMk id="4" creationId="{850C52E1-0A76-4E7C-8CEB-50C7727E1757}"/>
          </ac:spMkLst>
        </pc:spChg>
        <pc:spChg chg="add del mod">
          <ac:chgData name="Jaganathan Srihari" userId="28c62603-3041-4ce7-8f3a-596797870e34" providerId="ADAL" clId="{F1011C88-5C31-4C03-89D8-1EC9CFED2D52}" dt="2022-05-17T17:29:05.146" v="175" actId="20577"/>
          <ac:spMkLst>
            <pc:docMk/>
            <pc:sldMk cId="3046441546" sldId="2146847770"/>
            <ac:spMk id="5" creationId="{55C6333E-5035-45FD-9D9E-10D05BD237BE}"/>
          </ac:spMkLst>
        </pc:spChg>
        <pc:spChg chg="add del mod modVis">
          <ac:chgData name="Jaganathan Srihari" userId="28c62603-3041-4ce7-8f3a-596797870e34" providerId="ADAL" clId="{F1011C88-5C31-4C03-89D8-1EC9CFED2D52}" dt="2022-05-17T17:28:49.727" v="132"/>
          <ac:spMkLst>
            <pc:docMk/>
            <pc:sldMk cId="3046441546" sldId="2146847770"/>
            <ac:spMk id="7" creationId="{BD94D4EB-E8AE-4D3D-903F-12E1FCEA7885}"/>
          </ac:spMkLst>
        </pc:spChg>
        <pc:graphicFrameChg chg="add mod ord modVis">
          <ac:chgData name="Jaganathan Srihari" userId="28c62603-3041-4ce7-8f3a-596797870e34" providerId="ADAL" clId="{F1011C88-5C31-4C03-89D8-1EC9CFED2D52}" dt="2022-05-17T17:28:49.743" v="134"/>
          <ac:graphicFrameMkLst>
            <pc:docMk/>
            <pc:sldMk cId="3046441546" sldId="2146847770"/>
            <ac:graphicFrameMk id="6" creationId="{DF96B3F3-DAA4-4CA8-8252-8918C148F856}"/>
          </ac:graphicFrameMkLst>
        </pc:graphicFrameChg>
      </pc:sldChg>
      <pc:sldChg chg="addSp delSp modSp new add mod">
        <pc:chgData name="Jaganathan Srihari" userId="28c62603-3041-4ce7-8f3a-596797870e34" providerId="ADAL" clId="{F1011C88-5C31-4C03-89D8-1EC9CFED2D52}" dt="2022-05-17T17:53:09.469" v="1690" actId="114"/>
        <pc:sldMkLst>
          <pc:docMk/>
          <pc:sldMk cId="3764738365" sldId="2146847771"/>
        </pc:sldMkLst>
        <pc:spChg chg="mod">
          <ac:chgData name="Jaganathan Srihari" userId="28c62603-3041-4ce7-8f3a-596797870e34" providerId="ADAL" clId="{F1011C88-5C31-4C03-89D8-1EC9CFED2D52}" dt="2022-05-17T17:31:14.382" v="276" actId="948"/>
          <ac:spMkLst>
            <pc:docMk/>
            <pc:sldMk cId="3764738365" sldId="2146847771"/>
            <ac:spMk id="2" creationId="{B4348D4D-3DC6-48A0-B8A8-0F89BCFB637D}"/>
          </ac:spMkLst>
        </pc:spChg>
        <pc:spChg chg="mod">
          <ac:chgData name="Jaganathan Srihari" userId="28c62603-3041-4ce7-8f3a-596797870e34" providerId="ADAL" clId="{F1011C88-5C31-4C03-89D8-1EC9CFED2D52}" dt="2022-05-17T17:53:09.469" v="1690" actId="114"/>
          <ac:spMkLst>
            <pc:docMk/>
            <pc:sldMk cId="3764738365" sldId="2146847771"/>
            <ac:spMk id="4" creationId="{A2BEF5FD-E0FC-4208-A9EE-F4C8CBDC1C27}"/>
          </ac:spMkLst>
        </pc:spChg>
        <pc:spChg chg="del mod">
          <ac:chgData name="Jaganathan Srihari" userId="28c62603-3041-4ce7-8f3a-596797870e34" providerId="ADAL" clId="{F1011C88-5C31-4C03-89D8-1EC9CFED2D52}" dt="2022-05-17T17:31:22.808" v="333" actId="478"/>
          <ac:spMkLst>
            <pc:docMk/>
            <pc:sldMk cId="3764738365" sldId="2146847771"/>
            <ac:spMk id="5" creationId="{8AF79505-5D0A-4625-9F8F-E52537C5FF9B}"/>
          </ac:spMkLst>
        </pc:spChg>
        <pc:spChg chg="add del mod modVis">
          <ac:chgData name="Jaganathan Srihari" userId="28c62603-3041-4ce7-8f3a-596797870e34" providerId="ADAL" clId="{F1011C88-5C31-4C03-89D8-1EC9CFED2D52}" dt="2022-05-17T17:31:14.405" v="330"/>
          <ac:spMkLst>
            <pc:docMk/>
            <pc:sldMk cId="3764738365" sldId="2146847771"/>
            <ac:spMk id="7" creationId="{BBFDE638-936D-4281-9903-8105DCB5BAEE}"/>
          </ac:spMkLst>
        </pc:spChg>
        <pc:graphicFrameChg chg="add mod ord modVis">
          <ac:chgData name="Jaganathan Srihari" userId="28c62603-3041-4ce7-8f3a-596797870e34" providerId="ADAL" clId="{F1011C88-5C31-4C03-89D8-1EC9CFED2D52}" dt="2022-05-17T17:31:14.405" v="332"/>
          <ac:graphicFrameMkLst>
            <pc:docMk/>
            <pc:sldMk cId="3764738365" sldId="2146847771"/>
            <ac:graphicFrameMk id="6" creationId="{CE1A9C43-F518-403C-9FE9-B200A4B871C2}"/>
          </ac:graphicFrameMkLst>
        </pc:graphicFrameChg>
        <pc:graphicFrameChg chg="add mod">
          <ac:chgData name="Jaganathan Srihari" userId="28c62603-3041-4ce7-8f3a-596797870e34" providerId="ADAL" clId="{F1011C88-5C31-4C03-89D8-1EC9CFED2D52}" dt="2022-05-17T17:34:54.073" v="1144" actId="1076"/>
          <ac:graphicFrameMkLst>
            <pc:docMk/>
            <pc:sldMk cId="3764738365" sldId="2146847771"/>
            <ac:graphicFrameMk id="8" creationId="{65078BFE-4DEF-49A1-B260-4CB37A9BBEE4}"/>
          </ac:graphicFrameMkLst>
        </pc:graphicFrameChg>
      </pc:sldChg>
      <pc:sldChg chg="addSp delSp modSp new add mod">
        <pc:chgData name="Jaganathan Srihari" userId="28c62603-3041-4ce7-8f3a-596797870e34" providerId="ADAL" clId="{F1011C88-5C31-4C03-89D8-1EC9CFED2D52}" dt="2022-05-17T17:35:35.945" v="1239" actId="1076"/>
        <pc:sldMkLst>
          <pc:docMk/>
          <pc:sldMk cId="2568431057" sldId="2146847772"/>
        </pc:sldMkLst>
        <pc:spChg chg="mod">
          <ac:chgData name="Jaganathan Srihari" userId="28c62603-3041-4ce7-8f3a-596797870e34" providerId="ADAL" clId="{F1011C88-5C31-4C03-89D8-1EC9CFED2D52}" dt="2022-05-17T17:35:29.803" v="1197" actId="948"/>
          <ac:spMkLst>
            <pc:docMk/>
            <pc:sldMk cId="2568431057" sldId="2146847772"/>
            <ac:spMk id="2" creationId="{90629D19-594D-442A-B9F9-3D07570E132D}"/>
          </ac:spMkLst>
        </pc:spChg>
        <pc:spChg chg="mod">
          <ac:chgData name="Jaganathan Srihari" userId="28c62603-3041-4ce7-8f3a-596797870e34" providerId="ADAL" clId="{F1011C88-5C31-4C03-89D8-1EC9CFED2D52}" dt="2022-05-17T17:35:35.945" v="1239" actId="1076"/>
          <ac:spMkLst>
            <pc:docMk/>
            <pc:sldMk cId="2568431057" sldId="2146847772"/>
            <ac:spMk id="4" creationId="{E4AA6E1B-C8CF-4B0A-816F-43D8052C5AAE}"/>
          </ac:spMkLst>
        </pc:spChg>
        <pc:spChg chg="del mod">
          <ac:chgData name="Jaganathan Srihari" userId="28c62603-3041-4ce7-8f3a-596797870e34" providerId="ADAL" clId="{F1011C88-5C31-4C03-89D8-1EC9CFED2D52}" dt="2022-05-17T17:33:20.458" v="1077" actId="478"/>
          <ac:spMkLst>
            <pc:docMk/>
            <pc:sldMk cId="2568431057" sldId="2146847772"/>
            <ac:spMk id="5" creationId="{AFD05C49-CF24-4A1A-9077-6F76B599D927}"/>
          </ac:spMkLst>
        </pc:spChg>
        <pc:spChg chg="add del mod modVis">
          <ac:chgData name="Jaganathan Srihari" userId="28c62603-3041-4ce7-8f3a-596797870e34" providerId="ADAL" clId="{F1011C88-5C31-4C03-89D8-1EC9CFED2D52}" dt="2022-05-17T17:32:51.780" v="423"/>
          <ac:spMkLst>
            <pc:docMk/>
            <pc:sldMk cId="2568431057" sldId="2146847772"/>
            <ac:spMk id="7" creationId="{5C52C324-5F8B-4D38-AA28-98B390B89AD0}"/>
          </ac:spMkLst>
        </pc:spChg>
        <pc:spChg chg="add del mod modVis">
          <ac:chgData name="Jaganathan Srihari" userId="28c62603-3041-4ce7-8f3a-596797870e34" providerId="ADAL" clId="{F1011C88-5C31-4C03-89D8-1EC9CFED2D52}" dt="2022-05-17T17:32:53.820" v="470"/>
          <ac:spMkLst>
            <pc:docMk/>
            <pc:sldMk cId="2568431057" sldId="2146847772"/>
            <ac:spMk id="8" creationId="{A7C99CFD-B2FF-41E9-978A-FD02347C6CC7}"/>
          </ac:spMkLst>
        </pc:spChg>
        <pc:spChg chg="add del mod modVis">
          <ac:chgData name="Jaganathan Srihari" userId="28c62603-3041-4ce7-8f3a-596797870e34" providerId="ADAL" clId="{F1011C88-5C31-4C03-89D8-1EC9CFED2D52}" dt="2022-05-17T17:32:55.521" v="514"/>
          <ac:spMkLst>
            <pc:docMk/>
            <pc:sldMk cId="2568431057" sldId="2146847772"/>
            <ac:spMk id="9" creationId="{E879803A-7759-480F-9A67-B906266639C5}"/>
          </ac:spMkLst>
        </pc:spChg>
        <pc:spChg chg="add del mod modVis">
          <ac:chgData name="Jaganathan Srihari" userId="28c62603-3041-4ce7-8f3a-596797870e34" providerId="ADAL" clId="{F1011C88-5C31-4C03-89D8-1EC9CFED2D52}" dt="2022-05-17T17:32:57.312" v="561"/>
          <ac:spMkLst>
            <pc:docMk/>
            <pc:sldMk cId="2568431057" sldId="2146847772"/>
            <ac:spMk id="10" creationId="{7E9B352C-1841-465D-9170-3B9AC01660A2}"/>
          </ac:spMkLst>
        </pc:spChg>
        <pc:spChg chg="add del mod modVis">
          <ac:chgData name="Jaganathan Srihari" userId="28c62603-3041-4ce7-8f3a-596797870e34" providerId="ADAL" clId="{F1011C88-5C31-4C03-89D8-1EC9CFED2D52}" dt="2022-05-17T17:32:58.199" v="608"/>
          <ac:spMkLst>
            <pc:docMk/>
            <pc:sldMk cId="2568431057" sldId="2146847772"/>
            <ac:spMk id="11" creationId="{6FB83F26-D507-44AF-9669-A66BD97B8BFA}"/>
          </ac:spMkLst>
        </pc:spChg>
        <pc:spChg chg="add del mod modVis">
          <ac:chgData name="Jaganathan Srihari" userId="28c62603-3041-4ce7-8f3a-596797870e34" providerId="ADAL" clId="{F1011C88-5C31-4C03-89D8-1EC9CFED2D52}" dt="2022-05-17T17:33:01.122" v="661"/>
          <ac:spMkLst>
            <pc:docMk/>
            <pc:sldMk cId="2568431057" sldId="2146847772"/>
            <ac:spMk id="12" creationId="{F6522948-FDC6-4ACD-9462-A944E681998D}"/>
          </ac:spMkLst>
        </pc:spChg>
        <pc:spChg chg="add del mod modVis">
          <ac:chgData name="Jaganathan Srihari" userId="28c62603-3041-4ce7-8f3a-596797870e34" providerId="ADAL" clId="{F1011C88-5C31-4C03-89D8-1EC9CFED2D52}" dt="2022-05-17T17:33:03.629" v="731"/>
          <ac:spMkLst>
            <pc:docMk/>
            <pc:sldMk cId="2568431057" sldId="2146847772"/>
            <ac:spMk id="13" creationId="{CB20313C-825E-47C3-8A30-E18EC816248E}"/>
          </ac:spMkLst>
        </pc:spChg>
        <pc:spChg chg="add del mod modVis">
          <ac:chgData name="Jaganathan Srihari" userId="28c62603-3041-4ce7-8f3a-596797870e34" providerId="ADAL" clId="{F1011C88-5C31-4C03-89D8-1EC9CFED2D52}" dt="2022-05-17T17:33:05.685" v="781"/>
          <ac:spMkLst>
            <pc:docMk/>
            <pc:sldMk cId="2568431057" sldId="2146847772"/>
            <ac:spMk id="14" creationId="{CACF01D6-F011-49BF-B5DA-B014FDAC7FC4}"/>
          </ac:spMkLst>
        </pc:spChg>
        <pc:spChg chg="add del mod modVis">
          <ac:chgData name="Jaganathan Srihari" userId="28c62603-3041-4ce7-8f3a-596797870e34" providerId="ADAL" clId="{F1011C88-5C31-4C03-89D8-1EC9CFED2D52}" dt="2022-05-17T17:33:06.666" v="824"/>
          <ac:spMkLst>
            <pc:docMk/>
            <pc:sldMk cId="2568431057" sldId="2146847772"/>
            <ac:spMk id="15" creationId="{179AB51E-0F0B-438C-AB15-1A1F9FAF7656}"/>
          </ac:spMkLst>
        </pc:spChg>
        <pc:spChg chg="add del mod modVis">
          <ac:chgData name="Jaganathan Srihari" userId="28c62603-3041-4ce7-8f3a-596797870e34" providerId="ADAL" clId="{F1011C88-5C31-4C03-89D8-1EC9CFED2D52}" dt="2022-05-17T17:33:07.452" v="876"/>
          <ac:spMkLst>
            <pc:docMk/>
            <pc:sldMk cId="2568431057" sldId="2146847772"/>
            <ac:spMk id="16" creationId="{6660F192-8214-4CFD-BEB6-95D7FFFA93B2}"/>
          </ac:spMkLst>
        </pc:spChg>
        <pc:spChg chg="add del mod modVis">
          <ac:chgData name="Jaganathan Srihari" userId="28c62603-3041-4ce7-8f3a-596797870e34" providerId="ADAL" clId="{F1011C88-5C31-4C03-89D8-1EC9CFED2D52}" dt="2022-05-17T17:33:12.036" v="933"/>
          <ac:spMkLst>
            <pc:docMk/>
            <pc:sldMk cId="2568431057" sldId="2146847772"/>
            <ac:spMk id="17" creationId="{EB32DAA4-B8A4-4426-BFAF-89FF77BED072}"/>
          </ac:spMkLst>
        </pc:spChg>
        <pc:spChg chg="add del mod modVis">
          <ac:chgData name="Jaganathan Srihari" userId="28c62603-3041-4ce7-8f3a-596797870e34" providerId="ADAL" clId="{F1011C88-5C31-4C03-89D8-1EC9CFED2D52}" dt="2022-05-17T17:33:13.038" v="980"/>
          <ac:spMkLst>
            <pc:docMk/>
            <pc:sldMk cId="2568431057" sldId="2146847772"/>
            <ac:spMk id="18" creationId="{60FFBA44-26E4-49A3-B29F-A514C303A2C7}"/>
          </ac:spMkLst>
        </pc:spChg>
        <pc:spChg chg="add del mod modVis">
          <ac:chgData name="Jaganathan Srihari" userId="28c62603-3041-4ce7-8f3a-596797870e34" providerId="ADAL" clId="{F1011C88-5C31-4C03-89D8-1EC9CFED2D52}" dt="2022-05-17T17:33:14.610" v="1028"/>
          <ac:spMkLst>
            <pc:docMk/>
            <pc:sldMk cId="2568431057" sldId="2146847772"/>
            <ac:spMk id="19" creationId="{F0216C8D-B6F0-45D1-A536-E577A6714589}"/>
          </ac:spMkLst>
        </pc:spChg>
        <pc:spChg chg="add del mod modVis">
          <ac:chgData name="Jaganathan Srihari" userId="28c62603-3041-4ce7-8f3a-596797870e34" providerId="ADAL" clId="{F1011C88-5C31-4C03-89D8-1EC9CFED2D52}" dt="2022-05-17T17:33:15.929" v="1074"/>
          <ac:spMkLst>
            <pc:docMk/>
            <pc:sldMk cId="2568431057" sldId="2146847772"/>
            <ac:spMk id="20" creationId="{F4BEA268-D986-4704-B23C-2698E422BEBA}"/>
          </ac:spMkLst>
        </pc:spChg>
        <pc:spChg chg="add del mod modVis">
          <ac:chgData name="Jaganathan Srihari" userId="28c62603-3041-4ce7-8f3a-596797870e34" providerId="ADAL" clId="{F1011C88-5C31-4C03-89D8-1EC9CFED2D52}" dt="2022-05-17T17:34:06.565" v="1132"/>
          <ac:spMkLst>
            <pc:docMk/>
            <pc:sldMk cId="2568431057" sldId="2146847772"/>
            <ac:spMk id="21" creationId="{0C7E0877-961A-4B9C-BBEF-5C18DBBF0F5A}"/>
          </ac:spMkLst>
        </pc:spChg>
        <pc:spChg chg="add del mod modVis">
          <ac:chgData name="Jaganathan Srihari" userId="28c62603-3041-4ce7-8f3a-596797870e34" providerId="ADAL" clId="{F1011C88-5C31-4C03-89D8-1EC9CFED2D52}" dt="2022-05-17T17:35:28.182" v="1192"/>
          <ac:spMkLst>
            <pc:docMk/>
            <pc:sldMk cId="2568431057" sldId="2146847772"/>
            <ac:spMk id="22" creationId="{F5D057DC-A697-4E3B-8FB2-56600B74C1E0}"/>
          </ac:spMkLst>
        </pc:spChg>
        <pc:spChg chg="add del mod modVis">
          <ac:chgData name="Jaganathan Srihari" userId="28c62603-3041-4ce7-8f3a-596797870e34" providerId="ADAL" clId="{F1011C88-5C31-4C03-89D8-1EC9CFED2D52}" dt="2022-05-17T17:35:29.818" v="1236"/>
          <ac:spMkLst>
            <pc:docMk/>
            <pc:sldMk cId="2568431057" sldId="2146847772"/>
            <ac:spMk id="23" creationId="{8884C5D4-63B8-4C69-981C-14E46DA99591}"/>
          </ac:spMkLst>
        </pc:spChg>
        <pc:graphicFrameChg chg="add mod ord modVis">
          <ac:chgData name="Jaganathan Srihari" userId="28c62603-3041-4ce7-8f3a-596797870e34" providerId="ADAL" clId="{F1011C88-5C31-4C03-89D8-1EC9CFED2D52}" dt="2022-05-17T17:35:29.834" v="1238"/>
          <ac:graphicFrameMkLst>
            <pc:docMk/>
            <pc:sldMk cId="2568431057" sldId="2146847772"/>
            <ac:graphicFrameMk id="6" creationId="{8BE13D07-1EE0-4ACF-B8E6-DB4BE82916DF}"/>
          </ac:graphicFrameMkLst>
        </pc:graphicFrameChg>
      </pc:sldChg>
      <pc:sldChg chg="addSp delSp modSp new add mod">
        <pc:chgData name="Jaganathan Srihari" userId="28c62603-3041-4ce7-8f3a-596797870e34" providerId="ADAL" clId="{F1011C88-5C31-4C03-89D8-1EC9CFED2D52}" dt="2022-05-17T17:58:18.135" v="1722" actId="1076"/>
        <pc:sldMkLst>
          <pc:docMk/>
          <pc:sldMk cId="3248580125" sldId="2146847773"/>
        </pc:sldMkLst>
        <pc:spChg chg="mod">
          <ac:chgData name="Jaganathan Srihari" userId="28c62603-3041-4ce7-8f3a-596797870e34" providerId="ADAL" clId="{F1011C88-5C31-4C03-89D8-1EC9CFED2D52}" dt="2022-05-17T17:43:32.159" v="1441" actId="948"/>
          <ac:spMkLst>
            <pc:docMk/>
            <pc:sldMk cId="3248580125" sldId="2146847773"/>
            <ac:spMk id="2" creationId="{70051448-8338-4601-A129-7318813CD56B}"/>
          </ac:spMkLst>
        </pc:spChg>
        <pc:spChg chg="del">
          <ac:chgData name="Jaganathan Srihari" userId="28c62603-3041-4ce7-8f3a-596797870e34" providerId="ADAL" clId="{F1011C88-5C31-4C03-89D8-1EC9CFED2D52}" dt="2022-05-17T17:43:39.606" v="1484" actId="478"/>
          <ac:spMkLst>
            <pc:docMk/>
            <pc:sldMk cId="3248580125" sldId="2146847773"/>
            <ac:spMk id="4" creationId="{936413FF-3631-4CE1-8E4C-CAA0BFB7B5BB}"/>
          </ac:spMkLst>
        </pc:spChg>
        <pc:spChg chg="del mod">
          <ac:chgData name="Jaganathan Srihari" userId="28c62603-3041-4ce7-8f3a-596797870e34" providerId="ADAL" clId="{F1011C88-5C31-4C03-89D8-1EC9CFED2D52}" dt="2022-05-17T17:43:35.745" v="1483" actId="478"/>
          <ac:spMkLst>
            <pc:docMk/>
            <pc:sldMk cId="3248580125" sldId="2146847773"/>
            <ac:spMk id="5" creationId="{229868F3-A83A-4224-9B6C-E1994A5A78E6}"/>
          </ac:spMkLst>
        </pc:spChg>
        <pc:spChg chg="add del mod modVis">
          <ac:chgData name="Jaganathan Srihari" userId="28c62603-3041-4ce7-8f3a-596797870e34" providerId="ADAL" clId="{F1011C88-5C31-4C03-89D8-1EC9CFED2D52}" dt="2022-05-17T17:43:28.964" v="1421"/>
          <ac:spMkLst>
            <pc:docMk/>
            <pc:sldMk cId="3248580125" sldId="2146847773"/>
            <ac:spMk id="7" creationId="{1045C139-F431-49F5-8C6D-1BF8C81108AB}"/>
          </ac:spMkLst>
        </pc:spChg>
        <pc:spChg chg="add del mod modVis">
          <ac:chgData name="Jaganathan Srihari" userId="28c62603-3041-4ce7-8f3a-596797870e34" providerId="ADAL" clId="{F1011C88-5C31-4C03-89D8-1EC9CFED2D52}" dt="2022-05-17T17:43:32.174" v="1480"/>
          <ac:spMkLst>
            <pc:docMk/>
            <pc:sldMk cId="3248580125" sldId="2146847773"/>
            <ac:spMk id="8" creationId="{3F81AA01-68D5-4F9F-A0E9-63A0C05F8FF2}"/>
          </ac:spMkLst>
        </pc:spChg>
        <pc:spChg chg="add mod">
          <ac:chgData name="Jaganathan Srihari" userId="28c62603-3041-4ce7-8f3a-596797870e34" providerId="ADAL" clId="{F1011C88-5C31-4C03-89D8-1EC9CFED2D52}" dt="2022-05-17T17:58:14.024" v="1721" actId="1076"/>
          <ac:spMkLst>
            <pc:docMk/>
            <pc:sldMk cId="3248580125" sldId="2146847773"/>
            <ac:spMk id="15" creationId="{F522DBC8-7A9D-482E-AD18-D9DA74D7ABBE}"/>
          </ac:spMkLst>
        </pc:spChg>
        <pc:graphicFrameChg chg="add mod ord modVis">
          <ac:chgData name="Jaganathan Srihari" userId="28c62603-3041-4ce7-8f3a-596797870e34" providerId="ADAL" clId="{F1011C88-5C31-4C03-89D8-1EC9CFED2D52}" dt="2022-05-17T17:43:32.174" v="1482"/>
          <ac:graphicFrameMkLst>
            <pc:docMk/>
            <pc:sldMk cId="3248580125" sldId="2146847773"/>
            <ac:graphicFrameMk id="6" creationId="{7567609C-EAA9-436E-B46E-D81C9AD27989}"/>
          </ac:graphicFrameMkLst>
        </pc:graphicFrameChg>
        <pc:picChg chg="add mod">
          <ac:chgData name="Jaganathan Srihari" userId="28c62603-3041-4ce7-8f3a-596797870e34" providerId="ADAL" clId="{F1011C88-5C31-4C03-89D8-1EC9CFED2D52}" dt="2022-05-17T17:47:43.840" v="1559"/>
          <ac:picMkLst>
            <pc:docMk/>
            <pc:sldMk cId="3248580125" sldId="2146847773"/>
            <ac:picMk id="10" creationId="{667A1597-B721-417F-8FF9-C3AD0583297A}"/>
          </ac:picMkLst>
        </pc:picChg>
        <pc:picChg chg="add mod">
          <ac:chgData name="Jaganathan Srihari" userId="28c62603-3041-4ce7-8f3a-596797870e34" providerId="ADAL" clId="{F1011C88-5C31-4C03-89D8-1EC9CFED2D52}" dt="2022-05-17T17:48:00.949" v="1560" actId="14100"/>
          <ac:picMkLst>
            <pc:docMk/>
            <pc:sldMk cId="3248580125" sldId="2146847773"/>
            <ac:picMk id="12" creationId="{8CB1F924-452E-42D5-8152-9DF9E934CB7C}"/>
          </ac:picMkLst>
        </pc:picChg>
        <pc:picChg chg="add mod">
          <ac:chgData name="Jaganathan Srihari" userId="28c62603-3041-4ce7-8f3a-596797870e34" providerId="ADAL" clId="{F1011C88-5C31-4C03-89D8-1EC9CFED2D52}" dt="2022-05-17T17:58:18.135" v="1722" actId="1076"/>
          <ac:picMkLst>
            <pc:docMk/>
            <pc:sldMk cId="3248580125" sldId="2146847773"/>
            <ac:picMk id="20482" creationId="{F38CAC92-C9A5-4667-887B-07F6CA8FF0F0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Binary_Worksheet7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822685836692252E-2"/>
          <c:y val="3.2970659539881209E-2"/>
          <c:w val="0.85557629491367237"/>
          <c:h val="0.86910649521925487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bg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A413-4A8E-88BB-9D122A1BD71C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bg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A413-4A8E-88BB-9D122A1BD71C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bg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A413-4A8E-88BB-9D122A1BD71C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bg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A413-4A8E-88BB-9D122A1BD71C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bg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A413-4A8E-88BB-9D122A1BD71C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bg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A413-4A8E-88BB-9D122A1BD71C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bg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A413-4A8E-88BB-9D122A1BD71C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bg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A413-4A8E-88BB-9D122A1BD71C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bg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A413-4A8E-88BB-9D122A1BD71C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bg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A413-4A8E-88BB-9D122A1BD71C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bg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A413-4A8E-88BB-9D122A1BD71C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bg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A413-4A8E-88BB-9D122A1BD71C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bg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A413-4A8E-88BB-9D122A1BD71C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bg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A413-4A8E-88BB-9D122A1BD71C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bg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A413-4A8E-88BB-9D122A1BD71C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bg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A413-4A8E-88BB-9D122A1BD71C}"/>
              </c:ext>
            </c:extLst>
          </c:dPt>
          <c:xVal>
            <c:numRef>
              <c:f>Sheet1!$A$1:$P$1</c:f>
              <c:numCache>
                <c:formatCode>General</c:formatCode>
                <c:ptCount val="1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</c:numCache>
            </c:numRef>
          </c:xVal>
          <c:yVal>
            <c:numRef>
              <c:f>Sheet1!$A$2:$P$2</c:f>
              <c:numCache>
                <c:formatCode>General</c:formatCode>
                <c:ptCount val="16"/>
                <c:pt idx="0">
                  <c:v>100</c:v>
                </c:pt>
                <c:pt idx="1">
                  <c:v>64.817460000000011</c:v>
                </c:pt>
                <c:pt idx="2">
                  <c:v>61.105449999999998</c:v>
                </c:pt>
                <c:pt idx="3">
                  <c:v>58.158270000000002</c:v>
                </c:pt>
                <c:pt idx="4">
                  <c:v>54.91536</c:v>
                </c:pt>
                <c:pt idx="5">
                  <c:v>51.93759</c:v>
                </c:pt>
                <c:pt idx="6">
                  <c:v>49.32694</c:v>
                </c:pt>
                <c:pt idx="7">
                  <c:v>46.135019999999997</c:v>
                </c:pt>
                <c:pt idx="8">
                  <c:v>43.014479999999999</c:v>
                </c:pt>
                <c:pt idx="9">
                  <c:v>40.575650000000003</c:v>
                </c:pt>
                <c:pt idx="10">
                  <c:v>38.081659999999999</c:v>
                </c:pt>
                <c:pt idx="11">
                  <c:v>36.102600000000002</c:v>
                </c:pt>
                <c:pt idx="12">
                  <c:v>33.843499999999999</c:v>
                </c:pt>
                <c:pt idx="13">
                  <c:v>31.794729999999998</c:v>
                </c:pt>
                <c:pt idx="14">
                  <c:v>29.616379999999999</c:v>
                </c:pt>
                <c:pt idx="15">
                  <c:v>27.8027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A413-4A8E-88BB-9D122A1BD71C}"/>
            </c:ext>
          </c:extLst>
        </c:ser>
        <c:ser>
          <c:idx val="1"/>
          <c:order val="1"/>
          <c:spPr>
            <a:ln w="19050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A413-4A8E-88BB-9D122A1BD71C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bg1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A413-4A8E-88BB-9D122A1BD71C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A413-4A8E-88BB-9D122A1BD71C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A413-4A8E-88BB-9D122A1BD71C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A413-4A8E-88BB-9D122A1BD71C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A413-4A8E-88BB-9D122A1BD71C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A413-4A8E-88BB-9D122A1BD71C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A413-4A8E-88BB-9D122A1BD71C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A413-4A8E-88BB-9D122A1BD71C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A413-4A8E-88BB-9D122A1BD71C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A413-4A8E-88BB-9D122A1BD71C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A413-4A8E-88BB-9D122A1BD71C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A413-4A8E-88BB-9D122A1BD71C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A413-4A8E-88BB-9D122A1BD71C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A413-4A8E-88BB-9D122A1BD71C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A413-4A8E-88BB-9D122A1BD71C}"/>
              </c:ext>
            </c:extLst>
          </c:dPt>
          <c:xVal>
            <c:numRef>
              <c:f>Sheet1!$A$1:$P$1</c:f>
              <c:numCache>
                <c:formatCode>General</c:formatCode>
                <c:ptCount val="1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</c:numCache>
            </c:numRef>
          </c:xVal>
          <c:yVal>
            <c:numRef>
              <c:f>Sheet1!$A$3:$P$3</c:f>
              <c:numCache>
                <c:formatCode>General</c:formatCode>
                <c:ptCount val="16"/>
                <c:pt idx="0">
                  <c:v>100</c:v>
                </c:pt>
                <c:pt idx="1">
                  <c:v>64.708739999999992</c:v>
                </c:pt>
                <c:pt idx="2">
                  <c:v>61.095089999999999</c:v>
                </c:pt>
                <c:pt idx="3">
                  <c:v>57.683320000000002</c:v>
                </c:pt>
                <c:pt idx="4">
                  <c:v>54.462160000000004</c:v>
                </c:pt>
                <c:pt idx="5">
                  <c:v>51.420949999999998</c:v>
                </c:pt>
                <c:pt idx="6">
                  <c:v>48.549619999999997</c:v>
                </c:pt>
                <c:pt idx="7">
                  <c:v>45.838699999999996</c:v>
                </c:pt>
                <c:pt idx="8">
                  <c:v>43.279209999999999</c:v>
                </c:pt>
                <c:pt idx="9">
                  <c:v>40.862690000000001</c:v>
                </c:pt>
                <c:pt idx="10">
                  <c:v>38.581159999999997</c:v>
                </c:pt>
                <c:pt idx="11">
                  <c:v>36.427059999999997</c:v>
                </c:pt>
                <c:pt idx="12">
                  <c:v>34.393279999999997</c:v>
                </c:pt>
                <c:pt idx="13">
                  <c:v>32.473100000000002</c:v>
                </c:pt>
                <c:pt idx="14">
                  <c:v>30.660159999999998</c:v>
                </c:pt>
                <c:pt idx="15">
                  <c:v>28.9484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1-A413-4A8E-88BB-9D122A1BD7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94038095"/>
        <c:axId val="1"/>
      </c:scatterChart>
      <c:valAx>
        <c:axId val="1494038095"/>
        <c:scaling>
          <c:orientation val="minMax"/>
          <c:max val="15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94038095"/>
        <c:crosses val="min"/>
        <c:crossBetween val="midCat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617265835167529E-2"/>
          <c:y val="3.3374536464771322E-2"/>
          <c:w val="0.8757642455368061"/>
          <c:h val="0.86938607334157392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1D71-4091-944E-E7D516011F5C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1D71-4091-944E-E7D516011F5C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1D71-4091-944E-E7D516011F5C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1D71-4091-944E-E7D516011F5C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1D71-4091-944E-E7D516011F5C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1D71-4091-944E-E7D516011F5C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1D71-4091-944E-E7D516011F5C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1D71-4091-944E-E7D516011F5C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1D71-4091-944E-E7D516011F5C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1D71-4091-944E-E7D516011F5C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1D71-4091-944E-E7D516011F5C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1D71-4091-944E-E7D516011F5C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1D71-4091-944E-E7D516011F5C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1D71-4091-944E-E7D516011F5C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1D71-4091-944E-E7D516011F5C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1D71-4091-944E-E7D516011F5C}"/>
              </c:ext>
            </c:extLst>
          </c:dPt>
          <c:dLbls>
            <c:dLbl>
              <c:idx val="1"/>
              <c:layout>
                <c:manualLayout>
                  <c:x val="-4.1085836894003143E-2"/>
                  <c:y val="6.63371799976225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D71-4091-944E-E7D516011F5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P$1</c:f>
              <c:numCache>
                <c:formatCode>General</c:formatCode>
                <c:ptCount val="1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</c:numCache>
            </c:numRef>
          </c:xVal>
          <c:yVal>
            <c:numRef>
              <c:f>Sheet1!$A$2:$P$2</c:f>
              <c:numCache>
                <c:formatCode>#,##0;"-"#,##0</c:formatCode>
                <c:ptCount val="16"/>
                <c:pt idx="0" formatCode="General">
                  <c:v>100</c:v>
                </c:pt>
                <c:pt idx="1">
                  <c:v>65</c:v>
                </c:pt>
                <c:pt idx="2" formatCode="General">
                  <c:v>61.105449999999998</c:v>
                </c:pt>
                <c:pt idx="3" formatCode="General">
                  <c:v>58.158270000000002</c:v>
                </c:pt>
                <c:pt idx="4" formatCode="General">
                  <c:v>54.91536</c:v>
                </c:pt>
                <c:pt idx="5" formatCode="General">
                  <c:v>51.93759</c:v>
                </c:pt>
                <c:pt idx="6" formatCode="General">
                  <c:v>49.32694</c:v>
                </c:pt>
                <c:pt idx="7" formatCode="General">
                  <c:v>46.135019999999997</c:v>
                </c:pt>
                <c:pt idx="8" formatCode="General">
                  <c:v>43.014479999999999</c:v>
                </c:pt>
                <c:pt idx="9" formatCode="General">
                  <c:v>40.575650000000003</c:v>
                </c:pt>
                <c:pt idx="10" formatCode="General">
                  <c:v>38.081659999999999</c:v>
                </c:pt>
                <c:pt idx="11" formatCode="General">
                  <c:v>36.102600000000002</c:v>
                </c:pt>
                <c:pt idx="12" formatCode="General">
                  <c:v>33.843499999999999</c:v>
                </c:pt>
                <c:pt idx="13" formatCode="General">
                  <c:v>31.794730000000001</c:v>
                </c:pt>
                <c:pt idx="14" formatCode="General">
                  <c:v>29.616379999999999</c:v>
                </c:pt>
                <c:pt idx="15" formatCode="General">
                  <c:v>27.8027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1D71-4091-944E-E7D516011F5C}"/>
            </c:ext>
          </c:extLst>
        </c:ser>
        <c:ser>
          <c:idx val="1"/>
          <c:order val="1"/>
          <c:spPr>
            <a:ln w="19050" algn="ctr">
              <a:solidFill>
                <a:srgbClr val="5078B4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bg1"/>
                </a:solidFill>
                <a:ln w="12700" algn="ctr">
                  <a:solidFill>
                    <a:srgbClr val="5078B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1D71-4091-944E-E7D516011F5C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bg1"/>
                </a:solidFill>
                <a:ln w="12700" algn="ctr">
                  <a:solidFill>
                    <a:srgbClr val="5078B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1D71-4091-944E-E7D516011F5C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bg1"/>
                </a:solidFill>
                <a:ln w="12700" algn="ctr">
                  <a:solidFill>
                    <a:srgbClr val="5078B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1D71-4091-944E-E7D516011F5C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bg1"/>
                </a:solidFill>
                <a:ln w="12700" algn="ctr">
                  <a:solidFill>
                    <a:srgbClr val="5078B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1D71-4091-944E-E7D516011F5C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bg1"/>
                </a:solidFill>
                <a:ln w="12700" algn="ctr">
                  <a:solidFill>
                    <a:srgbClr val="5078B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1D71-4091-944E-E7D516011F5C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bg1"/>
                </a:solidFill>
                <a:ln w="12700" algn="ctr">
                  <a:solidFill>
                    <a:srgbClr val="5078B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1D71-4091-944E-E7D516011F5C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bg1"/>
                </a:solidFill>
                <a:ln w="12700" algn="ctr">
                  <a:solidFill>
                    <a:srgbClr val="5078B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1D71-4091-944E-E7D516011F5C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bg1"/>
                </a:solidFill>
                <a:ln w="12700" algn="ctr">
                  <a:solidFill>
                    <a:srgbClr val="5078B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1D71-4091-944E-E7D516011F5C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bg1"/>
                </a:solidFill>
                <a:ln w="12700" algn="ctr">
                  <a:solidFill>
                    <a:srgbClr val="5078B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1D71-4091-944E-E7D516011F5C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bg1"/>
                </a:solidFill>
                <a:ln w="12700" algn="ctr">
                  <a:solidFill>
                    <a:srgbClr val="5078B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1D71-4091-944E-E7D516011F5C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bg1"/>
                </a:solidFill>
                <a:ln w="12700" algn="ctr">
                  <a:solidFill>
                    <a:srgbClr val="5078B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1D71-4091-944E-E7D516011F5C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chemeClr val="bg1"/>
                </a:solidFill>
                <a:ln w="12700" algn="ctr">
                  <a:solidFill>
                    <a:srgbClr val="5078B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1D71-4091-944E-E7D516011F5C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chemeClr val="bg1"/>
                </a:solidFill>
                <a:ln w="12700" algn="ctr">
                  <a:solidFill>
                    <a:srgbClr val="5078B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1D71-4091-944E-E7D516011F5C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chemeClr val="bg1"/>
                </a:solidFill>
                <a:ln w="12700" algn="ctr">
                  <a:solidFill>
                    <a:srgbClr val="5078B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1D71-4091-944E-E7D516011F5C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chemeClr val="bg1"/>
                </a:solidFill>
                <a:ln w="12700" algn="ctr">
                  <a:solidFill>
                    <a:srgbClr val="5078B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1D71-4091-944E-E7D516011F5C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chemeClr val="bg1"/>
                </a:solidFill>
                <a:ln w="12700" algn="ctr">
                  <a:solidFill>
                    <a:srgbClr val="5078B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1D71-4091-944E-E7D516011F5C}"/>
              </c:ext>
            </c:extLst>
          </c:dPt>
          <c:dLbls>
            <c:dLbl>
              <c:idx val="1"/>
              <c:layout>
                <c:manualLayout>
                  <c:x val="1.4497431018312544E-2"/>
                  <c:y val="-1.648125471402818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1D71-4091-944E-E7D516011F5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P$1</c:f>
              <c:numCache>
                <c:formatCode>General</c:formatCode>
                <c:ptCount val="1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</c:numCache>
            </c:numRef>
          </c:xVal>
          <c:yVal>
            <c:numRef>
              <c:f>Sheet1!$A$3:$P$3</c:f>
              <c:numCache>
                <c:formatCode>#,##0;"-"#,##0</c:formatCode>
                <c:ptCount val="16"/>
                <c:pt idx="0" formatCode="General">
                  <c:v>100</c:v>
                </c:pt>
                <c:pt idx="1">
                  <c:v>89</c:v>
                </c:pt>
                <c:pt idx="2" formatCode="General">
                  <c:v>79.516949999999994</c:v>
                </c:pt>
                <c:pt idx="3" formatCode="General">
                  <c:v>70.907070000000004</c:v>
                </c:pt>
                <c:pt idx="4" formatCode="General">
                  <c:v>63.22945</c:v>
                </c:pt>
                <c:pt idx="5" formatCode="General">
                  <c:v>56.383139999999997</c:v>
                </c:pt>
                <c:pt idx="6" formatCode="General">
                  <c:v>50.278129999999997</c:v>
                </c:pt>
                <c:pt idx="7" formatCode="General">
                  <c:v>44.834150000000001</c:v>
                </c:pt>
                <c:pt idx="8" formatCode="General">
                  <c:v>39.97963</c:v>
                </c:pt>
                <c:pt idx="9" formatCode="General">
                  <c:v>35.650750000000002</c:v>
                </c:pt>
                <c:pt idx="10" formatCode="General">
                  <c:v>31.790590000000002</c:v>
                </c:pt>
                <c:pt idx="11" formatCode="General">
                  <c:v>28.348389999999998</c:v>
                </c:pt>
                <c:pt idx="12" formatCode="General">
                  <c:v>25.2789</c:v>
                </c:pt>
                <c:pt idx="13" formatCode="General">
                  <c:v>22.54177</c:v>
                </c:pt>
                <c:pt idx="14" formatCode="General">
                  <c:v>20.101009999999999</c:v>
                </c:pt>
                <c:pt idx="15" formatCode="General">
                  <c:v>17.92453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1-1D71-4091-944E-E7D516011F5C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1D71-4091-944E-E7D516011F5C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1D71-4091-944E-E7D516011F5C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1D71-4091-944E-E7D516011F5C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1D71-4091-944E-E7D516011F5C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1D71-4091-944E-E7D516011F5C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1D71-4091-944E-E7D516011F5C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1D71-4091-944E-E7D516011F5C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1D71-4091-944E-E7D516011F5C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1D71-4091-944E-E7D516011F5C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1D71-4091-944E-E7D516011F5C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1D71-4091-944E-E7D516011F5C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1D71-4091-944E-E7D516011F5C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1D71-4091-944E-E7D516011F5C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1D71-4091-944E-E7D516011F5C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1D71-4091-944E-E7D516011F5C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1D71-4091-944E-E7D516011F5C}"/>
              </c:ext>
            </c:extLst>
          </c:dPt>
          <c:dLbls>
            <c:dLbl>
              <c:idx val="1"/>
              <c:layout>
                <c:manualLayout>
                  <c:x val="0"/>
                  <c:y val="5.56242274412855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1D71-4091-944E-E7D516011F5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P$1</c:f>
              <c:numCache>
                <c:formatCode>General</c:formatCode>
                <c:ptCount val="1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</c:numCache>
            </c:numRef>
          </c:xVal>
          <c:yVal>
            <c:numRef>
              <c:f>Sheet1!$A$4:$P$4</c:f>
              <c:numCache>
                <c:formatCode>#,##0;"-"#,##0</c:formatCode>
                <c:ptCount val="16"/>
                <c:pt idx="0" formatCode="General">
                  <c:v>100</c:v>
                </c:pt>
                <c:pt idx="1">
                  <c:v>86</c:v>
                </c:pt>
                <c:pt idx="2" formatCode="General">
                  <c:v>73.706400000000002</c:v>
                </c:pt>
                <c:pt idx="3" formatCode="General">
                  <c:v>64.469279999999998</c:v>
                </c:pt>
                <c:pt idx="4" formatCode="General">
                  <c:v>57.308129999999998</c:v>
                </c:pt>
                <c:pt idx="5" formatCode="General">
                  <c:v>51.568480000000001</c:v>
                </c:pt>
                <c:pt idx="6" formatCode="General">
                  <c:v>46.849060000000001</c:v>
                </c:pt>
                <c:pt idx="7" formatCode="General">
                  <c:v>42.890509999999999</c:v>
                </c:pt>
                <c:pt idx="8" formatCode="General">
                  <c:v>39.516919999999999</c:v>
                </c:pt>
                <c:pt idx="9" formatCode="General">
                  <c:v>36.604239999999997</c:v>
                </c:pt>
                <c:pt idx="10" formatCode="General">
                  <c:v>34.062080000000002</c:v>
                </c:pt>
                <c:pt idx="11" formatCode="General">
                  <c:v>31.82281</c:v>
                </c:pt>
                <c:pt idx="12" formatCode="General">
                  <c:v>29.834720000000001</c:v>
                </c:pt>
                <c:pt idx="13" formatCode="General">
                  <c:v>28.05744</c:v>
                </c:pt>
                <c:pt idx="14" formatCode="General">
                  <c:v>26.459009999999999</c:v>
                </c:pt>
                <c:pt idx="15" formatCode="General">
                  <c:v>25.013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2-1D71-4091-944E-E7D516011F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25768352"/>
        <c:axId val="1"/>
      </c:scatterChart>
      <c:valAx>
        <c:axId val="925768352"/>
        <c:scaling>
          <c:orientation val="minMax"/>
          <c:max val="15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25768352"/>
        <c:crosses val="min"/>
        <c:crossBetween val="midCat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814814814814815E-2"/>
          <c:y val="7.7031470173790514E-2"/>
          <c:w val="0.97037037037037033"/>
          <c:h val="0.8985439173320808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D8C-4ACD-A0AF-2A7D457F83FA}"/>
              </c:ext>
            </c:extLst>
          </c:dPt>
          <c:dLbls>
            <c:dLbl>
              <c:idx val="0"/>
              <c:layout>
                <c:manualLayout>
                  <c:x val="0"/>
                  <c:y val="-0.48849224988257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D8C-4ACD-A0AF-2A7D457F83FA}"/>
                </c:ext>
              </c:extLst>
            </c:dLbl>
            <c:dLbl>
              <c:idx val="2"/>
              <c:layout>
                <c:manualLayout>
                  <c:x val="0"/>
                  <c:y val="-0.1432597463597933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D8C-4ACD-A0AF-2A7D457F83FA}"/>
                </c:ext>
              </c:extLst>
            </c:dLbl>
            <c:dLbl>
              <c:idx val="3"/>
              <c:layout>
                <c:manualLayout>
                  <c:x val="0"/>
                  <c:y val="-9.065288868013152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D8C-4ACD-A0AF-2A7D457F83FA}"/>
                </c:ext>
              </c:extLst>
            </c:dLbl>
            <c:dLbl>
              <c:idx val="4"/>
              <c:layout>
                <c:manualLayout>
                  <c:x val="0"/>
                  <c:y val="-5.63644903710662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D8C-4ACD-A0AF-2A7D457F83FA}"/>
                </c:ext>
              </c:extLst>
            </c:dLbl>
            <c:dLbl>
              <c:idx val="5"/>
              <c:layout>
                <c:manualLayout>
                  <c:x val="0"/>
                  <c:y val="-3.381869422263973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D8C-4ACD-A0AF-2A7D457F83FA}"/>
                </c:ext>
              </c:extLst>
            </c:dLbl>
            <c:dLbl>
              <c:idx val="6"/>
              <c:layout>
                <c:manualLayout>
                  <c:x val="0"/>
                  <c:y val="-2.724283701268201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D8C-4ACD-A0AF-2A7D457F83F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71.554574900000006</c:v>
                </c:pt>
                <c:pt idx="2">
                  <c:v>16.554574899999999</c:v>
                </c:pt>
                <c:pt idx="3">
                  <c:v>8.2772873999999987</c:v>
                </c:pt>
                <c:pt idx="4">
                  <c:v>2.7590957999999999</c:v>
                </c:pt>
                <c:pt idx="5">
                  <c:v>0.689774</c:v>
                </c:pt>
                <c:pt idx="6">
                  <c:v>0.1646930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D8C-4ACD-A0AF-2A7D457F83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23136287"/>
        <c:axId val="1"/>
      </c:barChart>
      <c:catAx>
        <c:axId val="10231362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1.55457490000000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2313628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688773298656265E-2"/>
          <c:y val="3.3526490066225163E-2"/>
          <c:w val="0.91504117902037274"/>
          <c:h val="0.93294701986754969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rgbClr val="0000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C5DA-4409-BA04-F78081864C60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C5DA-4409-BA04-F78081864C60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5DA-4409-BA04-F78081864C60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C5DA-4409-BA04-F78081864C60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C5DA-4409-BA04-F78081864C60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C5DA-4409-BA04-F78081864C60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C5DA-4409-BA04-F78081864C60}"/>
              </c:ext>
            </c:extLst>
          </c:dPt>
          <c:dPt>
            <c:idx val="7"/>
            <c:marker>
              <c:symbol val="circle"/>
              <c:size val="12"/>
              <c:spPr>
                <a:solidFill>
                  <a:srgbClr val="7F7F7F"/>
                </a:solidFill>
                <a:ln w="9525" algn="ctr">
                  <a:solidFill>
                    <a:srgbClr val="7F7F7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C5DA-4409-BA04-F78081864C60}"/>
              </c:ext>
            </c:extLst>
          </c:dPt>
          <c:xVal>
            <c:numRef>
              <c:f>Sheet1!$A$1:$H$1</c:f>
              <c:numCache>
                <c:formatCode>General</c:formatCode>
                <c:ptCount val="8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</c:numCache>
            </c:numRef>
          </c:xVal>
          <c:yVal>
            <c:numRef>
              <c:f>Sheet1!$A$2:$H$2</c:f>
              <c:numCache>
                <c:formatCode>General</c:formatCode>
                <c:ptCount val="8"/>
                <c:pt idx="0">
                  <c:v>100</c:v>
                </c:pt>
                <c:pt idx="1">
                  <c:v>64.817460000000011</c:v>
                </c:pt>
                <c:pt idx="2">
                  <c:v>61.105449999999998</c:v>
                </c:pt>
                <c:pt idx="3">
                  <c:v>58.158270000000002</c:v>
                </c:pt>
                <c:pt idx="4">
                  <c:v>54.91536</c:v>
                </c:pt>
                <c:pt idx="5">
                  <c:v>51.93759</c:v>
                </c:pt>
                <c:pt idx="6">
                  <c:v>49.32694</c:v>
                </c:pt>
                <c:pt idx="7">
                  <c:v>46.13501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C5DA-4409-BA04-F78081864C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39884768"/>
        <c:axId val="1"/>
      </c:scatterChart>
      <c:valAx>
        <c:axId val="539884768"/>
        <c:scaling>
          <c:orientation val="minMax"/>
          <c:max val="7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9884768"/>
        <c:crosses val="min"/>
        <c:crossBetween val="midCat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822685836692252E-2"/>
          <c:y val="3.2970659539881209E-2"/>
          <c:w val="0.85557629491367237"/>
          <c:h val="0.86910649521925487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rgbClr val="0000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A413-4A8E-88BB-9D122A1BD71C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A413-4A8E-88BB-9D122A1BD71C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A413-4A8E-88BB-9D122A1BD71C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A413-4A8E-88BB-9D122A1BD71C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A413-4A8E-88BB-9D122A1BD71C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A413-4A8E-88BB-9D122A1BD71C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A413-4A8E-88BB-9D122A1BD71C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A413-4A8E-88BB-9D122A1BD71C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A413-4A8E-88BB-9D122A1BD71C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A413-4A8E-88BB-9D122A1BD71C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A413-4A8E-88BB-9D122A1BD71C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A413-4A8E-88BB-9D122A1BD71C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A413-4A8E-88BB-9D122A1BD71C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A413-4A8E-88BB-9D122A1BD71C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A413-4A8E-88BB-9D122A1BD71C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A413-4A8E-88BB-9D122A1BD71C}"/>
              </c:ext>
            </c:extLst>
          </c:dPt>
          <c:xVal>
            <c:numRef>
              <c:f>Sheet1!$A$1:$P$1</c:f>
              <c:numCache>
                <c:formatCode>General</c:formatCode>
                <c:ptCount val="1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</c:numCache>
            </c:numRef>
          </c:xVal>
          <c:yVal>
            <c:numRef>
              <c:f>Sheet1!$A$2:$P$2</c:f>
              <c:numCache>
                <c:formatCode>General</c:formatCode>
                <c:ptCount val="16"/>
                <c:pt idx="0">
                  <c:v>100</c:v>
                </c:pt>
                <c:pt idx="1">
                  <c:v>64.817460000000011</c:v>
                </c:pt>
                <c:pt idx="2">
                  <c:v>61.105449999999998</c:v>
                </c:pt>
                <c:pt idx="3">
                  <c:v>58.158270000000002</c:v>
                </c:pt>
                <c:pt idx="4">
                  <c:v>54.91536</c:v>
                </c:pt>
                <c:pt idx="5">
                  <c:v>51.93759</c:v>
                </c:pt>
                <c:pt idx="6">
                  <c:v>49.32694</c:v>
                </c:pt>
                <c:pt idx="7">
                  <c:v>46.135019999999997</c:v>
                </c:pt>
                <c:pt idx="8">
                  <c:v>43.014479999999999</c:v>
                </c:pt>
                <c:pt idx="9">
                  <c:v>40.575650000000003</c:v>
                </c:pt>
                <c:pt idx="10">
                  <c:v>38.081659999999999</c:v>
                </c:pt>
                <c:pt idx="11">
                  <c:v>36.102600000000002</c:v>
                </c:pt>
                <c:pt idx="12">
                  <c:v>33.843499999999999</c:v>
                </c:pt>
                <c:pt idx="13">
                  <c:v>31.794729999999998</c:v>
                </c:pt>
                <c:pt idx="14">
                  <c:v>29.616379999999999</c:v>
                </c:pt>
                <c:pt idx="15">
                  <c:v>27.8027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A413-4A8E-88BB-9D122A1BD71C}"/>
            </c:ext>
          </c:extLst>
        </c:ser>
        <c:ser>
          <c:idx val="1"/>
          <c:order val="1"/>
          <c:spPr>
            <a:ln w="19050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A413-4A8E-88BB-9D122A1BD71C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A413-4A8E-88BB-9D122A1BD71C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A413-4A8E-88BB-9D122A1BD71C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A413-4A8E-88BB-9D122A1BD71C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A413-4A8E-88BB-9D122A1BD71C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A413-4A8E-88BB-9D122A1BD71C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A413-4A8E-88BB-9D122A1BD71C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A413-4A8E-88BB-9D122A1BD71C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A413-4A8E-88BB-9D122A1BD71C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A413-4A8E-88BB-9D122A1BD71C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A413-4A8E-88BB-9D122A1BD71C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A413-4A8E-88BB-9D122A1BD71C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A413-4A8E-88BB-9D122A1BD71C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A413-4A8E-88BB-9D122A1BD71C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A413-4A8E-88BB-9D122A1BD71C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A413-4A8E-88BB-9D122A1BD71C}"/>
              </c:ext>
            </c:extLst>
          </c:dPt>
          <c:dLbls>
            <c:dLbl>
              <c:idx val="1"/>
              <c:layout>
                <c:manualLayout>
                  <c:x val="-4.6663555762949137E-2"/>
                  <c:y val="6.330366631657186E-2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A413-4A8E-88BB-9D122A1BD71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numRef>
              <c:f>Sheet1!$A$1:$P$1</c:f>
              <c:numCache>
                <c:formatCode>General</c:formatCode>
                <c:ptCount val="1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</c:numCache>
            </c:numRef>
          </c:xVal>
          <c:yVal>
            <c:numRef>
              <c:f>Sheet1!$A$3:$P$3</c:f>
              <c:numCache>
                <c:formatCode>General</c:formatCode>
                <c:ptCount val="16"/>
                <c:pt idx="0">
                  <c:v>100</c:v>
                </c:pt>
                <c:pt idx="1">
                  <c:v>64.708739999999992</c:v>
                </c:pt>
                <c:pt idx="2">
                  <c:v>61.095089999999999</c:v>
                </c:pt>
                <c:pt idx="3">
                  <c:v>57.683320000000002</c:v>
                </c:pt>
                <c:pt idx="4">
                  <c:v>54.462160000000004</c:v>
                </c:pt>
                <c:pt idx="5">
                  <c:v>51.420949999999998</c:v>
                </c:pt>
                <c:pt idx="6">
                  <c:v>48.549619999999997</c:v>
                </c:pt>
                <c:pt idx="7">
                  <c:v>45.838699999999996</c:v>
                </c:pt>
                <c:pt idx="8">
                  <c:v>43.279209999999999</c:v>
                </c:pt>
                <c:pt idx="9">
                  <c:v>40.862690000000001</c:v>
                </c:pt>
                <c:pt idx="10">
                  <c:v>38.581159999999997</c:v>
                </c:pt>
                <c:pt idx="11">
                  <c:v>36.427059999999997</c:v>
                </c:pt>
                <c:pt idx="12">
                  <c:v>34.393279999999997</c:v>
                </c:pt>
                <c:pt idx="13">
                  <c:v>32.473100000000002</c:v>
                </c:pt>
                <c:pt idx="14">
                  <c:v>30.660159999999998</c:v>
                </c:pt>
                <c:pt idx="15">
                  <c:v>28.9484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1-A413-4A8E-88BB-9D122A1BD71C}"/>
            </c:ext>
          </c:extLst>
        </c:ser>
        <c:ser>
          <c:idx val="2"/>
          <c:order val="2"/>
          <c:marker>
            <c:symbol val="none"/>
          </c:marker>
          <c:xVal>
            <c:numRef>
              <c:f>Sheet1!$A$1:$P$1</c:f>
              <c:numCache>
                <c:formatCode>General</c:formatCode>
                <c:ptCount val="1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</c:numCache>
            </c:numRef>
          </c:xVal>
          <c:yVal>
            <c:numRef>
              <c:f>Sheet1!$A$4:$P$4</c:f>
              <c:numCache>
                <c:formatCode>General</c:formatCode>
                <c:ptCount val="16"/>
                <c:pt idx="0">
                  <c:v>100</c:v>
                </c:pt>
                <c:pt idx="1">
                  <c:v>81.589640000000003</c:v>
                </c:pt>
                <c:pt idx="2">
                  <c:v>70.121719999999996</c:v>
                </c:pt>
                <c:pt idx="3">
                  <c:v>62.14817</c:v>
                </c:pt>
                <c:pt idx="4">
                  <c:v>56.213720000000002</c:v>
                </c:pt>
                <c:pt idx="5">
                  <c:v>51.586970000000001</c:v>
                </c:pt>
                <c:pt idx="6">
                  <c:v>47.855930000000001</c:v>
                </c:pt>
                <c:pt idx="7">
                  <c:v>44.768999999999998</c:v>
                </c:pt>
                <c:pt idx="8">
                  <c:v>42.162950000000002</c:v>
                </c:pt>
                <c:pt idx="9">
                  <c:v>39.926760000000002</c:v>
                </c:pt>
                <c:pt idx="10">
                  <c:v>37.982010000000002</c:v>
                </c:pt>
                <c:pt idx="11">
                  <c:v>36.271590000000003</c:v>
                </c:pt>
                <c:pt idx="12">
                  <c:v>34.752789999999997</c:v>
                </c:pt>
                <c:pt idx="13">
                  <c:v>33.393000000000001</c:v>
                </c:pt>
                <c:pt idx="14">
                  <c:v>32.166789999999999</c:v>
                </c:pt>
                <c:pt idx="15">
                  <c:v>31.05406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1-888E-4241-8A32-47DDCF11291E}"/>
            </c:ext>
          </c:extLst>
        </c:ser>
        <c:ser>
          <c:idx val="3"/>
          <c:order val="3"/>
          <c:marker>
            <c:symbol val="none"/>
          </c:marker>
          <c:xVal>
            <c:numRef>
              <c:f>Sheet1!$A$1:$P$1</c:f>
              <c:numCache>
                <c:formatCode>General</c:formatCode>
                <c:ptCount val="1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</c:numCache>
            </c:numRef>
          </c:xVal>
          <c:yVal>
            <c:numRef>
              <c:f>Sheet1!$A$5:$P$5</c:f>
              <c:numCache>
                <c:formatCode>General</c:formatCode>
                <c:ptCount val="16"/>
                <c:pt idx="0">
                  <c:v>100</c:v>
                </c:pt>
                <c:pt idx="1">
                  <c:v>86</c:v>
                </c:pt>
                <c:pt idx="2">
                  <c:v>73.706400000000002</c:v>
                </c:pt>
                <c:pt idx="3">
                  <c:v>64.469279999999998</c:v>
                </c:pt>
                <c:pt idx="4">
                  <c:v>57.308129999999998</c:v>
                </c:pt>
                <c:pt idx="5">
                  <c:v>51.568480000000001</c:v>
                </c:pt>
                <c:pt idx="6">
                  <c:v>46.849060000000001</c:v>
                </c:pt>
                <c:pt idx="7">
                  <c:v>42.890509999999999</c:v>
                </c:pt>
                <c:pt idx="8">
                  <c:v>39.516919999999999</c:v>
                </c:pt>
                <c:pt idx="9">
                  <c:v>36.604239999999997</c:v>
                </c:pt>
                <c:pt idx="10">
                  <c:v>34.062080000000002</c:v>
                </c:pt>
                <c:pt idx="11">
                  <c:v>31.82281</c:v>
                </c:pt>
                <c:pt idx="12">
                  <c:v>29.834720000000001</c:v>
                </c:pt>
                <c:pt idx="13">
                  <c:v>28.05744</c:v>
                </c:pt>
                <c:pt idx="14">
                  <c:v>26.459009999999999</c:v>
                </c:pt>
                <c:pt idx="15">
                  <c:v>25.013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2-888E-4241-8A32-47DDCF11291E}"/>
            </c:ext>
          </c:extLst>
        </c:ser>
        <c:ser>
          <c:idx val="4"/>
          <c:order val="4"/>
          <c:marker>
            <c:symbol val="none"/>
          </c:marker>
          <c:xVal>
            <c:numRef>
              <c:f>Sheet1!$A$1:$P$1</c:f>
              <c:numCache>
                <c:formatCode>General</c:formatCode>
                <c:ptCount val="1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</c:numCache>
            </c:numRef>
          </c:xVal>
          <c:yVal>
            <c:numRef>
              <c:f>Sheet1!$A$6:$P$6</c:f>
              <c:numCache>
                <c:formatCode>General</c:formatCode>
                <c:ptCount val="16"/>
                <c:pt idx="0">
                  <c:v>100</c:v>
                </c:pt>
                <c:pt idx="1">
                  <c:v>89</c:v>
                </c:pt>
                <c:pt idx="2">
                  <c:v>79.516949999999994</c:v>
                </c:pt>
                <c:pt idx="3">
                  <c:v>70.907070000000004</c:v>
                </c:pt>
                <c:pt idx="4">
                  <c:v>63.22945</c:v>
                </c:pt>
                <c:pt idx="5">
                  <c:v>56.383139999999997</c:v>
                </c:pt>
                <c:pt idx="6">
                  <c:v>50.278129999999997</c:v>
                </c:pt>
                <c:pt idx="7">
                  <c:v>44.834150000000001</c:v>
                </c:pt>
                <c:pt idx="8">
                  <c:v>39.97963</c:v>
                </c:pt>
                <c:pt idx="9">
                  <c:v>35.650750000000002</c:v>
                </c:pt>
                <c:pt idx="10">
                  <c:v>31.790590000000002</c:v>
                </c:pt>
                <c:pt idx="11">
                  <c:v>28.348389999999998</c:v>
                </c:pt>
                <c:pt idx="12">
                  <c:v>25.2789</c:v>
                </c:pt>
                <c:pt idx="13">
                  <c:v>22.54177</c:v>
                </c:pt>
                <c:pt idx="14">
                  <c:v>20.101009999999999</c:v>
                </c:pt>
                <c:pt idx="15">
                  <c:v>17.92453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3-888E-4241-8A32-47DDCF1129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94038095"/>
        <c:axId val="1"/>
      </c:scatterChart>
      <c:valAx>
        <c:axId val="1494038095"/>
        <c:scaling>
          <c:orientation val="minMax"/>
          <c:max val="15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94038095"/>
        <c:crosses val="min"/>
        <c:crossBetween val="midCat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422343324250684E-2"/>
          <c:y val="0.14073426573426573"/>
          <c:w val="0.92915531335149859"/>
          <c:h val="0.8138111888111888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5164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639FD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E6F-4A8F-9BBF-0ECFC6F3B2A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E6F-4A8F-9BBF-0ECFC6F3B2A6}"/>
              </c:ext>
            </c:extLst>
          </c:dPt>
          <c:dLbls>
            <c:dLbl>
              <c:idx val="0"/>
              <c:layout>
                <c:manualLayout>
                  <c:x val="0"/>
                  <c:y val="-0.2709790209790209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E6F-4A8F-9BBF-0ECFC6F3B2A6}"/>
                </c:ext>
              </c:extLst>
            </c:dLbl>
            <c:dLbl>
              <c:idx val="1"/>
              <c:layout>
                <c:manualLayout>
                  <c:x val="0"/>
                  <c:y val="-0.3513986013986014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E6F-4A8F-9BBF-0ECFC6F3B2A6}"/>
                </c:ext>
              </c:extLst>
            </c:dLbl>
            <c:dLbl>
              <c:idx val="2"/>
              <c:layout>
                <c:manualLayout>
                  <c:x val="0"/>
                  <c:y val="-0.4772727272727272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E6F-4A8F-9BBF-0ECFC6F3B2A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8.6999999999999993</c:v>
                </c:pt>
                <c:pt idx="1">
                  <c:v>12.2</c:v>
                </c:pt>
                <c:pt idx="2">
                  <c:v>17.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E6F-4A8F-9BBF-0ECFC6F3B2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39884352"/>
        <c:axId val="1"/>
      </c:barChart>
      <c:catAx>
        <c:axId val="5398843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.6000000000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398843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822685836692252E-2"/>
          <c:y val="3.2970659539881209E-2"/>
          <c:w val="0.85557629491367237"/>
          <c:h val="0.86910649521925487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rgbClr val="0000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00C6-45F3-83D3-F7C7FDBB6D4D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bg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spPr>
              <a:ln w="19050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00C6-45F3-83D3-F7C7FDBB6D4D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00C6-45F3-83D3-F7C7FDBB6D4D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00C6-45F3-83D3-F7C7FDBB6D4D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00C6-45F3-83D3-F7C7FDBB6D4D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00C6-45F3-83D3-F7C7FDBB6D4D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00C6-45F3-83D3-F7C7FDBB6D4D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00C6-45F3-83D3-F7C7FDBB6D4D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00C6-45F3-83D3-F7C7FDBB6D4D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00C6-45F3-83D3-F7C7FDBB6D4D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00C6-45F3-83D3-F7C7FDBB6D4D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00C6-45F3-83D3-F7C7FDBB6D4D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00C6-45F3-83D3-F7C7FDBB6D4D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00C6-45F3-83D3-F7C7FDBB6D4D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00C6-45F3-83D3-F7C7FDBB6D4D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00C6-45F3-83D3-F7C7FDBB6D4D}"/>
              </c:ext>
            </c:extLst>
          </c:dPt>
          <c:xVal>
            <c:numRef>
              <c:f>Sheet1!$A$1:$P$1</c:f>
              <c:numCache>
                <c:formatCode>General</c:formatCode>
                <c:ptCount val="1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</c:numCache>
            </c:numRef>
          </c:xVal>
          <c:yVal>
            <c:numRef>
              <c:f>Sheet1!$A$2:$P$2</c:f>
              <c:numCache>
                <c:formatCode>General</c:formatCode>
                <c:ptCount val="16"/>
                <c:pt idx="0">
                  <c:v>100</c:v>
                </c:pt>
                <c:pt idx="1">
                  <c:v>64.817460000000011</c:v>
                </c:pt>
                <c:pt idx="2">
                  <c:v>61.105449999999998</c:v>
                </c:pt>
                <c:pt idx="3">
                  <c:v>58.158270000000002</c:v>
                </c:pt>
                <c:pt idx="4">
                  <c:v>54.91536</c:v>
                </c:pt>
                <c:pt idx="5">
                  <c:v>51.93759</c:v>
                </c:pt>
                <c:pt idx="6">
                  <c:v>49.32694</c:v>
                </c:pt>
                <c:pt idx="7">
                  <c:v>46.135019999999997</c:v>
                </c:pt>
                <c:pt idx="8">
                  <c:v>43.014479999999999</c:v>
                </c:pt>
                <c:pt idx="9">
                  <c:v>40.575650000000003</c:v>
                </c:pt>
                <c:pt idx="10">
                  <c:v>38.081659999999999</c:v>
                </c:pt>
                <c:pt idx="11">
                  <c:v>36.102600000000002</c:v>
                </c:pt>
                <c:pt idx="12">
                  <c:v>33.843499999999999</c:v>
                </c:pt>
                <c:pt idx="13">
                  <c:v>31.794729999999998</c:v>
                </c:pt>
                <c:pt idx="14">
                  <c:v>29.616379999999999</c:v>
                </c:pt>
                <c:pt idx="15">
                  <c:v>27.8027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00C6-45F3-83D3-F7C7FDBB6D4D}"/>
            </c:ext>
          </c:extLst>
        </c:ser>
        <c:ser>
          <c:idx val="1"/>
          <c:order val="1"/>
          <c:spPr>
            <a:ln w="19050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00C6-45F3-83D3-F7C7FDBB6D4D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00C6-45F3-83D3-F7C7FDBB6D4D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00C6-45F3-83D3-F7C7FDBB6D4D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00C6-45F3-83D3-F7C7FDBB6D4D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00C6-45F3-83D3-F7C7FDBB6D4D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00C6-45F3-83D3-F7C7FDBB6D4D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00C6-45F3-83D3-F7C7FDBB6D4D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00C6-45F3-83D3-F7C7FDBB6D4D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00C6-45F3-83D3-F7C7FDBB6D4D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00C6-45F3-83D3-F7C7FDBB6D4D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00C6-45F3-83D3-F7C7FDBB6D4D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00C6-45F3-83D3-F7C7FDBB6D4D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00C6-45F3-83D3-F7C7FDBB6D4D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00C6-45F3-83D3-F7C7FDBB6D4D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00C6-45F3-83D3-F7C7FDBB6D4D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00C6-45F3-83D3-F7C7FDBB6D4D}"/>
              </c:ext>
            </c:extLst>
          </c:dPt>
          <c:xVal>
            <c:numRef>
              <c:f>Sheet1!$A$1:$P$1</c:f>
              <c:numCache>
                <c:formatCode>General</c:formatCode>
                <c:ptCount val="1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</c:numCache>
            </c:numRef>
          </c:xVal>
          <c:y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1-00C6-45F3-83D3-F7C7FDBB6D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94038095"/>
        <c:axId val="1"/>
      </c:scatterChart>
      <c:valAx>
        <c:axId val="1494038095"/>
        <c:scaling>
          <c:orientation val="minMax"/>
          <c:max val="16"/>
          <c:min val="1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94038095"/>
        <c:crosses val="min"/>
        <c:crossBetween val="midCat"/>
        <c:majorUnit val="20"/>
      </c:valAx>
      <c:spPr>
        <a:solidFill>
          <a:schemeClr val="bg1"/>
        </a:solidFill>
      </c:spPr>
    </c:plotArea>
    <c:plotVisOnly val="0"/>
    <c:dispBlanksAs val="gap"/>
    <c:showDLblsOverMax val="1"/>
  </c:chart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617265835167529E-2"/>
          <c:y val="3.3374536464771322E-2"/>
          <c:w val="0.8757642455368061"/>
          <c:h val="0.86938607334157392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1D71-4091-944E-E7D516011F5C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1D71-4091-944E-E7D516011F5C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1D71-4091-944E-E7D516011F5C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1D71-4091-944E-E7D516011F5C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1D71-4091-944E-E7D516011F5C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1D71-4091-944E-E7D516011F5C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1D71-4091-944E-E7D516011F5C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1D71-4091-944E-E7D516011F5C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1D71-4091-944E-E7D516011F5C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1D71-4091-944E-E7D516011F5C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1D71-4091-944E-E7D516011F5C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1D71-4091-944E-E7D516011F5C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1D71-4091-944E-E7D516011F5C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1D71-4091-944E-E7D516011F5C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1D71-4091-944E-E7D516011F5C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1D71-4091-944E-E7D516011F5C}"/>
              </c:ext>
            </c:extLst>
          </c:dPt>
          <c:xVal>
            <c:numRef>
              <c:f>Sheet1!$A$1:$P$1</c:f>
              <c:numCache>
                <c:formatCode>General</c:formatCode>
                <c:ptCount val="1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xVal>
          <c:yVal>
            <c:numRef>
              <c:f>Sheet1!$A$2:$P$2</c:f>
              <c:numCache>
                <c:formatCode>#,##0.00</c:formatCode>
                <c:ptCount val="16"/>
                <c:pt idx="0" formatCode="General">
                  <c:v>3.0999999999999996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1D71-4091-944E-E7D516011F5C}"/>
            </c:ext>
          </c:extLst>
        </c:ser>
        <c:ser>
          <c:idx val="2"/>
          <c:order val="1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1D71-4091-944E-E7D516011F5C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1D71-4091-944E-E7D516011F5C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1D71-4091-944E-E7D516011F5C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1D71-4091-944E-E7D516011F5C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1D71-4091-944E-E7D516011F5C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1D71-4091-944E-E7D516011F5C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1D71-4091-944E-E7D516011F5C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1D71-4091-944E-E7D516011F5C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1D71-4091-944E-E7D516011F5C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1D71-4091-944E-E7D516011F5C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1D71-4091-944E-E7D516011F5C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1D71-4091-944E-E7D516011F5C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1D71-4091-944E-E7D516011F5C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1D71-4091-944E-E7D516011F5C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1D71-4091-944E-E7D516011F5C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1D71-4091-944E-E7D516011F5C}"/>
              </c:ext>
            </c:extLst>
          </c:dPt>
          <c:xVal>
            <c:numRef>
              <c:f>Sheet1!$A$1:$P$1</c:f>
              <c:numCache>
                <c:formatCode>General</c:formatCode>
                <c:ptCount val="1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xVal>
          <c:yVal>
            <c:numRef>
              <c:f>Sheet1!$A$3:$P$3</c:f>
              <c:numCache>
                <c:formatCode>General</c:formatCode>
                <c:ptCount val="16"/>
                <c:pt idx="0">
                  <c:v>0.73286382647969273</c:v>
                </c:pt>
                <c:pt idx="1">
                  <c:v>2.0710678118654755</c:v>
                </c:pt>
                <c:pt idx="2">
                  <c:v>2.4852813742385709</c:v>
                </c:pt>
                <c:pt idx="3">
                  <c:v>2.8994949366116662</c:v>
                </c:pt>
                <c:pt idx="4">
                  <c:v>3.3137084989847612</c:v>
                </c:pt>
                <c:pt idx="5">
                  <c:v>3.7279220613578561</c:v>
                </c:pt>
                <c:pt idx="6">
                  <c:v>4.142135623730951</c:v>
                </c:pt>
                <c:pt idx="7">
                  <c:v>4.5563491861040468</c:v>
                </c:pt>
                <c:pt idx="8">
                  <c:v>4.9705627484771417</c:v>
                </c:pt>
                <c:pt idx="9">
                  <c:v>5.3847763108502367</c:v>
                </c:pt>
                <c:pt idx="10">
                  <c:v>5.79898987322333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2-1D71-4091-944E-E7D516011F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25768352"/>
        <c:axId val="1"/>
      </c:scatterChart>
      <c:valAx>
        <c:axId val="925768352"/>
        <c:scaling>
          <c:orientation val="minMax"/>
          <c:max val="1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1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25768352"/>
        <c:crosses val="min"/>
        <c:crossBetween val="midCat"/>
      </c:valAx>
      <c:spPr>
        <a:ln>
          <a:solidFill>
            <a:schemeClr val="tx1"/>
          </a:solidFill>
        </a:ln>
      </c:spPr>
    </c:plotArea>
    <c:plotVisOnly val="0"/>
    <c:dispBlanksAs val="gap"/>
    <c:showDLblsOverMax val="1"/>
  </c:chart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2327</cdr:x>
      <cdr:y>0.43921</cdr:y>
    </cdr:from>
    <cdr:to>
      <cdr:x>0.32327</cdr:x>
      <cdr:y>0.59444</cdr:y>
    </cdr:to>
    <cdr:cxnSp macro="">
      <cdr:nvCxnSpPr>
        <cdr:cNvPr id="3" name="Straight Arrow Connector 2">
          <a:extLst xmlns:a="http://schemas.openxmlformats.org/drawingml/2006/main">
            <a:ext uri="{FF2B5EF4-FFF2-40B4-BE49-F238E27FC236}">
              <a16:creationId xmlns:a16="http://schemas.microsoft.com/office/drawing/2014/main" id="{12390535-AC65-4622-8A05-8EC8C65518DF}"/>
            </a:ext>
          </a:extLst>
        </cdr:cNvPr>
        <cdr:cNvCxnSpPr/>
      </cdr:nvCxnSpPr>
      <cdr:spPr>
        <a:xfrm xmlns:a="http://schemas.openxmlformats.org/drawingml/2006/main" flipV="1">
          <a:off x="2199545" y="2114763"/>
          <a:ext cx="0" cy="747415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rgbClr val="FF0000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5182</cdr:x>
      <cdr:y>0.42132</cdr:y>
    </cdr:from>
    <cdr:to>
      <cdr:x>0.55083</cdr:x>
      <cdr:y>0.42132</cdr:y>
    </cdr:to>
    <cdr:cxnSp macro="">
      <cdr:nvCxnSpPr>
        <cdr:cNvPr id="10" name="Straight Arrow Connector 9">
          <a:extLst xmlns:a="http://schemas.openxmlformats.org/drawingml/2006/main">
            <a:ext uri="{FF2B5EF4-FFF2-40B4-BE49-F238E27FC236}">
              <a16:creationId xmlns:a16="http://schemas.microsoft.com/office/drawing/2014/main" id="{763072AF-A92D-4166-888A-423211D5D5CA}"/>
            </a:ext>
          </a:extLst>
        </cdr:cNvPr>
        <cdr:cNvCxnSpPr/>
      </cdr:nvCxnSpPr>
      <cdr:spPr>
        <a:xfrm xmlns:a="http://schemas.openxmlformats.org/drawingml/2006/main">
          <a:off x="2393782" y="2028608"/>
          <a:ext cx="1354069" cy="0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rgbClr val="FF0000"/>
          </a:solidFill>
          <a:prstDash val="dash"/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8638</cdr:x>
      <cdr:y>0.71792</cdr:y>
    </cdr:from>
    <cdr:to>
      <cdr:x>0.52238</cdr:x>
      <cdr:y>0.71792</cdr:y>
    </cdr:to>
    <cdr:cxnSp macro="">
      <cdr:nvCxnSpPr>
        <cdr:cNvPr id="3" name="Straight Arrow Connector 2">
          <a:extLst xmlns:a="http://schemas.openxmlformats.org/drawingml/2006/main">
            <a:ext uri="{FF2B5EF4-FFF2-40B4-BE49-F238E27FC236}">
              <a16:creationId xmlns:a16="http://schemas.microsoft.com/office/drawing/2014/main" id="{1055AF02-78BA-4086-9D30-0349290C1386}"/>
            </a:ext>
          </a:extLst>
        </cdr:cNvPr>
        <cdr:cNvCxnSpPr/>
      </cdr:nvCxnSpPr>
      <cdr:spPr>
        <a:xfrm xmlns:a="http://schemas.openxmlformats.org/drawingml/2006/main" flipH="1">
          <a:off x="560732" y="2766061"/>
          <a:ext cx="2830168" cy="0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rgbClr val="FF0000"/>
          </a:solidFill>
          <a:prstDash val="dash"/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642D35-F097-084F-9CB3-48FED435208E}" type="datetimeFigureOut">
              <a:rPr lang="en-US" smtClean="0"/>
              <a:pPr/>
              <a:t>7/8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3D2A4D-1B1A-9949-94CC-A696BB34E91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9683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95EB31-CDC4-7843-888C-905E26737E28}" type="datetimeFigureOut">
              <a:rPr lang="en-US" smtClean="0"/>
              <a:pPr/>
              <a:t>7/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5D4267-ED3C-AE47-84A1-A0A9689FEF5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49591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7/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4E3A7-135D-0C4C-A9A7-E9F09DD633C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341593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7/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4E3A7-135D-0C4C-A9A7-E9F09DD633C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528723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7/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4E3A7-135D-0C4C-A9A7-E9F09DD633C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137392231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7/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4E3A7-135D-0C4C-A9A7-E9F09DD633C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1968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7/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4E3A7-135D-0C4C-A9A7-E9F09DD633C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00194145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7/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4E3A7-135D-0C4C-A9A7-E9F09DD633C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14732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7/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4E3A7-135D-0C4C-A9A7-E9F09DD633C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563998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7/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4E3A7-135D-0C4C-A9A7-E9F09DD633C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288372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>
            <a:extLst>
              <a:ext uri="{FF2B5EF4-FFF2-40B4-BE49-F238E27FC236}">
                <a16:creationId xmlns:a16="http://schemas.microsoft.com/office/drawing/2014/main" id="{126377E3-91CC-4DAD-8B93-FE073E08F7BE}"/>
              </a:ext>
            </a:extLst>
          </p:cNvPr>
          <p:cNvSpPr/>
          <p:nvPr userDrawn="1"/>
        </p:nvSpPr>
        <p:spPr>
          <a:xfrm>
            <a:off x="-436124" y="-2078260"/>
            <a:ext cx="5585639" cy="9602788"/>
          </a:xfrm>
          <a:custGeom>
            <a:avLst/>
            <a:gdLst>
              <a:gd name="connsiteX0" fmla="*/ 0 w 2408664"/>
              <a:gd name="connsiteY0" fmla="*/ 0 h 1379248"/>
              <a:gd name="connsiteX1" fmla="*/ 2408664 w 2408664"/>
              <a:gd name="connsiteY1" fmla="*/ 0 h 1379248"/>
              <a:gd name="connsiteX2" fmla="*/ 2408664 w 2408664"/>
              <a:gd name="connsiteY2" fmla="*/ 1379248 h 1379248"/>
              <a:gd name="connsiteX3" fmla="*/ 0 w 2408664"/>
              <a:gd name="connsiteY3" fmla="*/ 1379248 h 1379248"/>
              <a:gd name="connsiteX4" fmla="*/ 0 w 2408664"/>
              <a:gd name="connsiteY4" fmla="*/ 0 h 1379248"/>
              <a:gd name="connsiteX0" fmla="*/ 0 w 3021981"/>
              <a:gd name="connsiteY0" fmla="*/ 1371600 h 2750848"/>
              <a:gd name="connsiteX1" fmla="*/ 3021981 w 3021981"/>
              <a:gd name="connsiteY1" fmla="*/ 0 h 2750848"/>
              <a:gd name="connsiteX2" fmla="*/ 2408664 w 3021981"/>
              <a:gd name="connsiteY2" fmla="*/ 2750848 h 2750848"/>
              <a:gd name="connsiteX3" fmla="*/ 0 w 3021981"/>
              <a:gd name="connsiteY3" fmla="*/ 2750848 h 2750848"/>
              <a:gd name="connsiteX4" fmla="*/ 0 w 3021981"/>
              <a:gd name="connsiteY4" fmla="*/ 1371600 h 2750848"/>
              <a:gd name="connsiteX0" fmla="*/ 0 w 3066586"/>
              <a:gd name="connsiteY0" fmla="*/ 1371600 h 2750848"/>
              <a:gd name="connsiteX1" fmla="*/ 3021981 w 3066586"/>
              <a:gd name="connsiteY1" fmla="*/ 0 h 2750848"/>
              <a:gd name="connsiteX2" fmla="*/ 3066586 w 3066586"/>
              <a:gd name="connsiteY2" fmla="*/ 2237892 h 2750848"/>
              <a:gd name="connsiteX3" fmla="*/ 0 w 3066586"/>
              <a:gd name="connsiteY3" fmla="*/ 2750848 h 2750848"/>
              <a:gd name="connsiteX4" fmla="*/ 0 w 3066586"/>
              <a:gd name="connsiteY4" fmla="*/ 1371600 h 2750848"/>
              <a:gd name="connsiteX0" fmla="*/ 0 w 3066586"/>
              <a:gd name="connsiteY0" fmla="*/ 1371600 h 4144751"/>
              <a:gd name="connsiteX1" fmla="*/ 3021981 w 3066586"/>
              <a:gd name="connsiteY1" fmla="*/ 0 h 4144751"/>
              <a:gd name="connsiteX2" fmla="*/ 3066586 w 3066586"/>
              <a:gd name="connsiteY2" fmla="*/ 2237892 h 4144751"/>
              <a:gd name="connsiteX3" fmla="*/ 546410 w 3066586"/>
              <a:gd name="connsiteY3" fmla="*/ 4144751 h 4144751"/>
              <a:gd name="connsiteX4" fmla="*/ 0 w 3066586"/>
              <a:gd name="connsiteY4" fmla="*/ 1371600 h 4144751"/>
              <a:gd name="connsiteX0" fmla="*/ 0 w 3066586"/>
              <a:gd name="connsiteY0" fmla="*/ 1371600 h 4144751"/>
              <a:gd name="connsiteX1" fmla="*/ 3021981 w 3066586"/>
              <a:gd name="connsiteY1" fmla="*/ 0 h 4144751"/>
              <a:gd name="connsiteX2" fmla="*/ 3066586 w 3066586"/>
              <a:gd name="connsiteY2" fmla="*/ 2237892 h 4144751"/>
              <a:gd name="connsiteX3" fmla="*/ 546410 w 3066586"/>
              <a:gd name="connsiteY3" fmla="*/ 4144751 h 4144751"/>
              <a:gd name="connsiteX4" fmla="*/ 0 w 3066586"/>
              <a:gd name="connsiteY4" fmla="*/ 1371600 h 4144751"/>
              <a:gd name="connsiteX0" fmla="*/ 0 w 3021981"/>
              <a:gd name="connsiteY0" fmla="*/ 1371600 h 4144751"/>
              <a:gd name="connsiteX1" fmla="*/ 3021981 w 3021981"/>
              <a:gd name="connsiteY1" fmla="*/ 0 h 4144751"/>
              <a:gd name="connsiteX2" fmla="*/ 2810108 w 3021981"/>
              <a:gd name="connsiteY2" fmla="*/ 2527823 h 4144751"/>
              <a:gd name="connsiteX3" fmla="*/ 546410 w 3021981"/>
              <a:gd name="connsiteY3" fmla="*/ 4144751 h 4144751"/>
              <a:gd name="connsiteX4" fmla="*/ 0 w 3021981"/>
              <a:gd name="connsiteY4" fmla="*/ 1371600 h 4144751"/>
              <a:gd name="connsiteX0" fmla="*/ 0 w 3021981"/>
              <a:gd name="connsiteY0" fmla="*/ 1371600 h 4144751"/>
              <a:gd name="connsiteX1" fmla="*/ 3021981 w 3021981"/>
              <a:gd name="connsiteY1" fmla="*/ 0 h 4144751"/>
              <a:gd name="connsiteX2" fmla="*/ 2810108 w 3021981"/>
              <a:gd name="connsiteY2" fmla="*/ 2527823 h 4144751"/>
              <a:gd name="connsiteX3" fmla="*/ 546410 w 3021981"/>
              <a:gd name="connsiteY3" fmla="*/ 4144751 h 4144751"/>
              <a:gd name="connsiteX4" fmla="*/ 0 w 3021981"/>
              <a:gd name="connsiteY4" fmla="*/ 1371600 h 4144751"/>
              <a:gd name="connsiteX0" fmla="*/ 0 w 3033132"/>
              <a:gd name="connsiteY0" fmla="*/ 1371600 h 4144751"/>
              <a:gd name="connsiteX1" fmla="*/ 3021981 w 3033132"/>
              <a:gd name="connsiteY1" fmla="*/ 0 h 4144751"/>
              <a:gd name="connsiteX2" fmla="*/ 3033132 w 3033132"/>
              <a:gd name="connsiteY2" fmla="*/ 2159833 h 4144751"/>
              <a:gd name="connsiteX3" fmla="*/ 546410 w 3033132"/>
              <a:gd name="connsiteY3" fmla="*/ 4144751 h 4144751"/>
              <a:gd name="connsiteX4" fmla="*/ 0 w 3033132"/>
              <a:gd name="connsiteY4" fmla="*/ 1371600 h 4144751"/>
              <a:gd name="connsiteX0" fmla="*/ 0 w 3033132"/>
              <a:gd name="connsiteY0" fmla="*/ 1371600 h 4144751"/>
              <a:gd name="connsiteX1" fmla="*/ 3021981 w 3033132"/>
              <a:gd name="connsiteY1" fmla="*/ 0 h 4144751"/>
              <a:gd name="connsiteX2" fmla="*/ 3033132 w 3033132"/>
              <a:gd name="connsiteY2" fmla="*/ 2159833 h 4144751"/>
              <a:gd name="connsiteX3" fmla="*/ 546410 w 3033132"/>
              <a:gd name="connsiteY3" fmla="*/ 4144751 h 4144751"/>
              <a:gd name="connsiteX4" fmla="*/ 0 w 3033132"/>
              <a:gd name="connsiteY4" fmla="*/ 1371600 h 4144751"/>
              <a:gd name="connsiteX0" fmla="*/ 0 w 3033132"/>
              <a:gd name="connsiteY0" fmla="*/ 1371600 h 4144751"/>
              <a:gd name="connsiteX1" fmla="*/ 3021981 w 3033132"/>
              <a:gd name="connsiteY1" fmla="*/ 0 h 4144751"/>
              <a:gd name="connsiteX2" fmla="*/ 3033132 w 3033132"/>
              <a:gd name="connsiteY2" fmla="*/ 2159833 h 4144751"/>
              <a:gd name="connsiteX3" fmla="*/ 546410 w 3033132"/>
              <a:gd name="connsiteY3" fmla="*/ 4144751 h 4144751"/>
              <a:gd name="connsiteX4" fmla="*/ 0 w 3033132"/>
              <a:gd name="connsiteY4" fmla="*/ 1371600 h 4144751"/>
              <a:gd name="connsiteX0" fmla="*/ 245326 w 2486722"/>
              <a:gd name="connsiteY0" fmla="*/ 1215483 h 4144751"/>
              <a:gd name="connsiteX1" fmla="*/ 2475571 w 2486722"/>
              <a:gd name="connsiteY1" fmla="*/ 0 h 4144751"/>
              <a:gd name="connsiteX2" fmla="*/ 2486722 w 2486722"/>
              <a:gd name="connsiteY2" fmla="*/ 2159833 h 4144751"/>
              <a:gd name="connsiteX3" fmla="*/ 0 w 2486722"/>
              <a:gd name="connsiteY3" fmla="*/ 4144751 h 4144751"/>
              <a:gd name="connsiteX4" fmla="*/ 245326 w 2486722"/>
              <a:gd name="connsiteY4" fmla="*/ 1215483 h 4144751"/>
              <a:gd name="connsiteX0" fmla="*/ 78058 w 2486722"/>
              <a:gd name="connsiteY0" fmla="*/ 2007219 h 4144751"/>
              <a:gd name="connsiteX1" fmla="*/ 2475571 w 2486722"/>
              <a:gd name="connsiteY1" fmla="*/ 0 h 4144751"/>
              <a:gd name="connsiteX2" fmla="*/ 2486722 w 2486722"/>
              <a:gd name="connsiteY2" fmla="*/ 2159833 h 4144751"/>
              <a:gd name="connsiteX3" fmla="*/ 0 w 2486722"/>
              <a:gd name="connsiteY3" fmla="*/ 4144751 h 4144751"/>
              <a:gd name="connsiteX4" fmla="*/ 78058 w 2486722"/>
              <a:gd name="connsiteY4" fmla="*/ 2007219 h 4144751"/>
              <a:gd name="connsiteX0" fmla="*/ 78058 w 2486722"/>
              <a:gd name="connsiteY0" fmla="*/ 2007219 h 4144751"/>
              <a:gd name="connsiteX1" fmla="*/ 270145 w 2486722"/>
              <a:gd name="connsiteY1" fmla="*/ 1629830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78058 w 2486722"/>
              <a:gd name="connsiteY5" fmla="*/ 2007219 h 4144751"/>
              <a:gd name="connsiteX0" fmla="*/ 78058 w 2486722"/>
              <a:gd name="connsiteY0" fmla="*/ 2007219 h 4144751"/>
              <a:gd name="connsiteX1" fmla="*/ 270145 w 2486722"/>
              <a:gd name="connsiteY1" fmla="*/ 1629830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78058 w 2486722"/>
              <a:gd name="connsiteY5" fmla="*/ 2007219 h 4144751"/>
              <a:gd name="connsiteX0" fmla="*/ 78058 w 2486722"/>
              <a:gd name="connsiteY0" fmla="*/ 2007219 h 4144751"/>
              <a:gd name="connsiteX1" fmla="*/ 270145 w 2486722"/>
              <a:gd name="connsiteY1" fmla="*/ 1629830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78058 w 2486722"/>
              <a:gd name="connsiteY5" fmla="*/ 2007219 h 4144751"/>
              <a:gd name="connsiteX0" fmla="*/ 33453 w 2486722"/>
              <a:gd name="connsiteY0" fmla="*/ 2040673 h 4144751"/>
              <a:gd name="connsiteX1" fmla="*/ 270145 w 2486722"/>
              <a:gd name="connsiteY1" fmla="*/ 1629830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33453 w 2486722"/>
              <a:gd name="connsiteY5" fmla="*/ 2040673 h 4144751"/>
              <a:gd name="connsiteX0" fmla="*/ 33453 w 2486722"/>
              <a:gd name="connsiteY0" fmla="*/ 2040673 h 4144751"/>
              <a:gd name="connsiteX1" fmla="*/ 270145 w 2486722"/>
              <a:gd name="connsiteY1" fmla="*/ 1629830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33453 w 2486722"/>
              <a:gd name="connsiteY5" fmla="*/ 2040673 h 4144751"/>
              <a:gd name="connsiteX0" fmla="*/ 33453 w 2486722"/>
              <a:gd name="connsiteY0" fmla="*/ 2040673 h 4144751"/>
              <a:gd name="connsiteX1" fmla="*/ 270145 w 2486722"/>
              <a:gd name="connsiteY1" fmla="*/ 1629830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33453 w 2486722"/>
              <a:gd name="connsiteY5" fmla="*/ 2040673 h 4144751"/>
              <a:gd name="connsiteX0" fmla="*/ 22301 w 2486722"/>
              <a:gd name="connsiteY0" fmla="*/ 2185639 h 4144751"/>
              <a:gd name="connsiteX1" fmla="*/ 270145 w 2486722"/>
              <a:gd name="connsiteY1" fmla="*/ 1629830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22301 w 2486722"/>
              <a:gd name="connsiteY5" fmla="*/ 2185639 h 4144751"/>
              <a:gd name="connsiteX0" fmla="*/ 22301 w 2486722"/>
              <a:gd name="connsiteY0" fmla="*/ 2185639 h 4144751"/>
              <a:gd name="connsiteX1" fmla="*/ 426262 w 2486722"/>
              <a:gd name="connsiteY1" fmla="*/ 1484865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22301 w 2486722"/>
              <a:gd name="connsiteY5" fmla="*/ 2185639 h 4144751"/>
              <a:gd name="connsiteX0" fmla="*/ 22301 w 2486722"/>
              <a:gd name="connsiteY0" fmla="*/ 2185639 h 4144751"/>
              <a:gd name="connsiteX1" fmla="*/ 426262 w 2486722"/>
              <a:gd name="connsiteY1" fmla="*/ 1484865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22301 w 2486722"/>
              <a:gd name="connsiteY5" fmla="*/ 2185639 h 4144751"/>
              <a:gd name="connsiteX0" fmla="*/ 44603 w 2486722"/>
              <a:gd name="connsiteY0" fmla="*/ 2196791 h 4144751"/>
              <a:gd name="connsiteX1" fmla="*/ 426262 w 2486722"/>
              <a:gd name="connsiteY1" fmla="*/ 1484865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44603 w 2486722"/>
              <a:gd name="connsiteY5" fmla="*/ 2196791 h 4144751"/>
              <a:gd name="connsiteX0" fmla="*/ 66905 w 2486722"/>
              <a:gd name="connsiteY0" fmla="*/ 2274850 h 4144751"/>
              <a:gd name="connsiteX1" fmla="*/ 426262 w 2486722"/>
              <a:gd name="connsiteY1" fmla="*/ 1484865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66905 w 2486722"/>
              <a:gd name="connsiteY5" fmla="*/ 2274850 h 4144751"/>
              <a:gd name="connsiteX0" fmla="*/ 66905 w 2486722"/>
              <a:gd name="connsiteY0" fmla="*/ 2274850 h 4144751"/>
              <a:gd name="connsiteX1" fmla="*/ 426262 w 2486722"/>
              <a:gd name="connsiteY1" fmla="*/ 1484865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66905 w 2486722"/>
              <a:gd name="connsiteY5" fmla="*/ 2274850 h 4144751"/>
              <a:gd name="connsiteX0" fmla="*/ 66905 w 2486722"/>
              <a:gd name="connsiteY0" fmla="*/ 2274850 h 4144751"/>
              <a:gd name="connsiteX1" fmla="*/ 426262 w 2486722"/>
              <a:gd name="connsiteY1" fmla="*/ 1484865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66905 w 2486722"/>
              <a:gd name="connsiteY5" fmla="*/ 2274850 h 4144751"/>
              <a:gd name="connsiteX0" fmla="*/ 78056 w 2497873"/>
              <a:gd name="connsiteY0" fmla="*/ 2274850 h 4222810"/>
              <a:gd name="connsiteX1" fmla="*/ 437413 w 2497873"/>
              <a:gd name="connsiteY1" fmla="*/ 1484865 h 4222810"/>
              <a:gd name="connsiteX2" fmla="*/ 2486722 w 2497873"/>
              <a:gd name="connsiteY2" fmla="*/ 0 h 4222810"/>
              <a:gd name="connsiteX3" fmla="*/ 2497873 w 2497873"/>
              <a:gd name="connsiteY3" fmla="*/ 2159833 h 4222810"/>
              <a:gd name="connsiteX4" fmla="*/ 0 w 2497873"/>
              <a:gd name="connsiteY4" fmla="*/ 4222810 h 4222810"/>
              <a:gd name="connsiteX5" fmla="*/ 78056 w 2497873"/>
              <a:gd name="connsiteY5" fmla="*/ 2274850 h 4222810"/>
              <a:gd name="connsiteX0" fmla="*/ 78056 w 2497873"/>
              <a:gd name="connsiteY0" fmla="*/ 2274850 h 4222810"/>
              <a:gd name="connsiteX1" fmla="*/ 437413 w 2497873"/>
              <a:gd name="connsiteY1" fmla="*/ 1484865 h 4222810"/>
              <a:gd name="connsiteX2" fmla="*/ 2486722 w 2497873"/>
              <a:gd name="connsiteY2" fmla="*/ 0 h 4222810"/>
              <a:gd name="connsiteX3" fmla="*/ 2497873 w 2497873"/>
              <a:gd name="connsiteY3" fmla="*/ 2159833 h 4222810"/>
              <a:gd name="connsiteX4" fmla="*/ 0 w 2497873"/>
              <a:gd name="connsiteY4" fmla="*/ 4222810 h 4222810"/>
              <a:gd name="connsiteX5" fmla="*/ 78056 w 2497873"/>
              <a:gd name="connsiteY5" fmla="*/ 2274850 h 4222810"/>
              <a:gd name="connsiteX0" fmla="*/ 78056 w 2497873"/>
              <a:gd name="connsiteY0" fmla="*/ 2274850 h 4222810"/>
              <a:gd name="connsiteX1" fmla="*/ 437413 w 2497873"/>
              <a:gd name="connsiteY1" fmla="*/ 1484865 h 4222810"/>
              <a:gd name="connsiteX2" fmla="*/ 2486722 w 2497873"/>
              <a:gd name="connsiteY2" fmla="*/ 0 h 4222810"/>
              <a:gd name="connsiteX3" fmla="*/ 2497873 w 2497873"/>
              <a:gd name="connsiteY3" fmla="*/ 2159833 h 4222810"/>
              <a:gd name="connsiteX4" fmla="*/ 0 w 2497873"/>
              <a:gd name="connsiteY4" fmla="*/ 4222810 h 4222810"/>
              <a:gd name="connsiteX5" fmla="*/ 78056 w 2497873"/>
              <a:gd name="connsiteY5" fmla="*/ 2274850 h 4222810"/>
              <a:gd name="connsiteX0" fmla="*/ 78056 w 2509024"/>
              <a:gd name="connsiteY0" fmla="*/ 2341758 h 4289718"/>
              <a:gd name="connsiteX1" fmla="*/ 437413 w 2509024"/>
              <a:gd name="connsiteY1" fmla="*/ 1551773 h 4289718"/>
              <a:gd name="connsiteX2" fmla="*/ 2509024 w 2509024"/>
              <a:gd name="connsiteY2" fmla="*/ 0 h 4289718"/>
              <a:gd name="connsiteX3" fmla="*/ 2497873 w 2509024"/>
              <a:gd name="connsiteY3" fmla="*/ 2226741 h 4289718"/>
              <a:gd name="connsiteX4" fmla="*/ 0 w 2509024"/>
              <a:gd name="connsiteY4" fmla="*/ 4289718 h 4289718"/>
              <a:gd name="connsiteX5" fmla="*/ 78056 w 2509024"/>
              <a:gd name="connsiteY5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551773 h 4289718"/>
              <a:gd name="connsiteX2" fmla="*/ 2509024 w 2509024"/>
              <a:gd name="connsiteY2" fmla="*/ 0 h 4289718"/>
              <a:gd name="connsiteX3" fmla="*/ 2497873 w 2509024"/>
              <a:gd name="connsiteY3" fmla="*/ 2226741 h 4289718"/>
              <a:gd name="connsiteX4" fmla="*/ 0 w 2509024"/>
              <a:gd name="connsiteY4" fmla="*/ 4289718 h 4289718"/>
              <a:gd name="connsiteX5" fmla="*/ 78056 w 2509024"/>
              <a:gd name="connsiteY5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551773 h 4289718"/>
              <a:gd name="connsiteX2" fmla="*/ 2509024 w 2509024"/>
              <a:gd name="connsiteY2" fmla="*/ 0 h 4289718"/>
              <a:gd name="connsiteX3" fmla="*/ 2497873 w 2509024"/>
              <a:gd name="connsiteY3" fmla="*/ 2226741 h 4289718"/>
              <a:gd name="connsiteX4" fmla="*/ 0 w 2509024"/>
              <a:gd name="connsiteY4" fmla="*/ 4289718 h 4289718"/>
              <a:gd name="connsiteX5" fmla="*/ 78056 w 2509024"/>
              <a:gd name="connsiteY5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551773 h 4289718"/>
              <a:gd name="connsiteX2" fmla="*/ 2509024 w 2509024"/>
              <a:gd name="connsiteY2" fmla="*/ 0 h 4289718"/>
              <a:gd name="connsiteX3" fmla="*/ 2497873 w 2509024"/>
              <a:gd name="connsiteY3" fmla="*/ 2226741 h 4289718"/>
              <a:gd name="connsiteX4" fmla="*/ 0 w 2509024"/>
              <a:gd name="connsiteY4" fmla="*/ 4289718 h 4289718"/>
              <a:gd name="connsiteX5" fmla="*/ 78056 w 2509024"/>
              <a:gd name="connsiteY5" fmla="*/ 2341758 h 4289718"/>
              <a:gd name="connsiteX0" fmla="*/ 78056 w 2509024"/>
              <a:gd name="connsiteY0" fmla="*/ 2342240 h 4290200"/>
              <a:gd name="connsiteX1" fmla="*/ 437413 w 2509024"/>
              <a:gd name="connsiteY1" fmla="*/ 1552255 h 4290200"/>
              <a:gd name="connsiteX2" fmla="*/ 2509024 w 2509024"/>
              <a:gd name="connsiteY2" fmla="*/ 482 h 4290200"/>
              <a:gd name="connsiteX3" fmla="*/ 2497873 w 2509024"/>
              <a:gd name="connsiteY3" fmla="*/ 2227223 h 4290200"/>
              <a:gd name="connsiteX4" fmla="*/ 0 w 2509024"/>
              <a:gd name="connsiteY4" fmla="*/ 4290200 h 4290200"/>
              <a:gd name="connsiteX5" fmla="*/ 78056 w 2509024"/>
              <a:gd name="connsiteY5" fmla="*/ 2342240 h 4290200"/>
              <a:gd name="connsiteX0" fmla="*/ 78056 w 2509024"/>
              <a:gd name="connsiteY0" fmla="*/ 2341758 h 4289718"/>
              <a:gd name="connsiteX1" fmla="*/ 437413 w 2509024"/>
              <a:gd name="connsiteY1" fmla="*/ 1551773 h 4289718"/>
              <a:gd name="connsiteX2" fmla="*/ 2509024 w 2509024"/>
              <a:gd name="connsiteY2" fmla="*/ 0 h 4289718"/>
              <a:gd name="connsiteX3" fmla="*/ 2497873 w 2509024"/>
              <a:gd name="connsiteY3" fmla="*/ 2226741 h 4289718"/>
              <a:gd name="connsiteX4" fmla="*/ 0 w 2509024"/>
              <a:gd name="connsiteY4" fmla="*/ 4289718 h 4289718"/>
              <a:gd name="connsiteX5" fmla="*/ 78056 w 2509024"/>
              <a:gd name="connsiteY5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551773 h 4289718"/>
              <a:gd name="connsiteX2" fmla="*/ 2509024 w 2509024"/>
              <a:gd name="connsiteY2" fmla="*/ 0 h 4289718"/>
              <a:gd name="connsiteX3" fmla="*/ 2497873 w 2509024"/>
              <a:gd name="connsiteY3" fmla="*/ 2226741 h 4289718"/>
              <a:gd name="connsiteX4" fmla="*/ 0 w 2509024"/>
              <a:gd name="connsiteY4" fmla="*/ 4289718 h 4289718"/>
              <a:gd name="connsiteX5" fmla="*/ 78056 w 2509024"/>
              <a:gd name="connsiteY5" fmla="*/ 2341758 h 4289718"/>
              <a:gd name="connsiteX0" fmla="*/ 78056 w 2534878"/>
              <a:gd name="connsiteY0" fmla="*/ 2485982 h 4433942"/>
              <a:gd name="connsiteX1" fmla="*/ 437413 w 2534878"/>
              <a:gd name="connsiteY1" fmla="*/ 1695997 h 4433942"/>
              <a:gd name="connsiteX2" fmla="*/ 2323563 w 2534878"/>
              <a:gd name="connsiteY2" fmla="*/ 380735 h 4433942"/>
              <a:gd name="connsiteX3" fmla="*/ 2509024 w 2534878"/>
              <a:gd name="connsiteY3" fmla="*/ 144224 h 4433942"/>
              <a:gd name="connsiteX4" fmla="*/ 2497873 w 2534878"/>
              <a:gd name="connsiteY4" fmla="*/ 2370965 h 4433942"/>
              <a:gd name="connsiteX5" fmla="*/ 0 w 2534878"/>
              <a:gd name="connsiteY5" fmla="*/ 4433942 h 4433942"/>
              <a:gd name="connsiteX6" fmla="*/ 78056 w 2534878"/>
              <a:gd name="connsiteY6" fmla="*/ 2485982 h 4433942"/>
              <a:gd name="connsiteX0" fmla="*/ 78056 w 2534878"/>
              <a:gd name="connsiteY0" fmla="*/ 2485982 h 4433942"/>
              <a:gd name="connsiteX1" fmla="*/ 437413 w 2534878"/>
              <a:gd name="connsiteY1" fmla="*/ 1695997 h 4433942"/>
              <a:gd name="connsiteX2" fmla="*/ 2323563 w 2534878"/>
              <a:gd name="connsiteY2" fmla="*/ 380735 h 4433942"/>
              <a:gd name="connsiteX3" fmla="*/ 2509024 w 2534878"/>
              <a:gd name="connsiteY3" fmla="*/ 144224 h 4433942"/>
              <a:gd name="connsiteX4" fmla="*/ 2497873 w 2534878"/>
              <a:gd name="connsiteY4" fmla="*/ 2370965 h 4433942"/>
              <a:gd name="connsiteX5" fmla="*/ 0 w 2534878"/>
              <a:gd name="connsiteY5" fmla="*/ 4433942 h 4433942"/>
              <a:gd name="connsiteX6" fmla="*/ 78056 w 2534878"/>
              <a:gd name="connsiteY6" fmla="*/ 2485982 h 4433942"/>
              <a:gd name="connsiteX0" fmla="*/ 78056 w 2534878"/>
              <a:gd name="connsiteY0" fmla="*/ 2485982 h 4433942"/>
              <a:gd name="connsiteX1" fmla="*/ 437413 w 2534878"/>
              <a:gd name="connsiteY1" fmla="*/ 1751753 h 4433942"/>
              <a:gd name="connsiteX2" fmla="*/ 2323563 w 2534878"/>
              <a:gd name="connsiteY2" fmla="*/ 380735 h 4433942"/>
              <a:gd name="connsiteX3" fmla="*/ 2509024 w 2534878"/>
              <a:gd name="connsiteY3" fmla="*/ 144224 h 4433942"/>
              <a:gd name="connsiteX4" fmla="*/ 2497873 w 2534878"/>
              <a:gd name="connsiteY4" fmla="*/ 2370965 h 4433942"/>
              <a:gd name="connsiteX5" fmla="*/ 0 w 2534878"/>
              <a:gd name="connsiteY5" fmla="*/ 4433942 h 4433942"/>
              <a:gd name="connsiteX6" fmla="*/ 78056 w 2534878"/>
              <a:gd name="connsiteY6" fmla="*/ 2485982 h 4433942"/>
              <a:gd name="connsiteX0" fmla="*/ 78056 w 2534878"/>
              <a:gd name="connsiteY0" fmla="*/ 2485982 h 4433942"/>
              <a:gd name="connsiteX1" fmla="*/ 437413 w 2534878"/>
              <a:gd name="connsiteY1" fmla="*/ 1751753 h 4433942"/>
              <a:gd name="connsiteX2" fmla="*/ 2323563 w 2534878"/>
              <a:gd name="connsiteY2" fmla="*/ 380735 h 4433942"/>
              <a:gd name="connsiteX3" fmla="*/ 2509024 w 2534878"/>
              <a:gd name="connsiteY3" fmla="*/ 144224 h 4433942"/>
              <a:gd name="connsiteX4" fmla="*/ 2497873 w 2534878"/>
              <a:gd name="connsiteY4" fmla="*/ 2370965 h 4433942"/>
              <a:gd name="connsiteX5" fmla="*/ 0 w 2534878"/>
              <a:gd name="connsiteY5" fmla="*/ 4433942 h 4433942"/>
              <a:gd name="connsiteX6" fmla="*/ 78056 w 2534878"/>
              <a:gd name="connsiteY6" fmla="*/ 2485982 h 4433942"/>
              <a:gd name="connsiteX0" fmla="*/ 78056 w 2534878"/>
              <a:gd name="connsiteY0" fmla="*/ 2485982 h 4433942"/>
              <a:gd name="connsiteX1" fmla="*/ 437413 w 2534878"/>
              <a:gd name="connsiteY1" fmla="*/ 1751753 h 4433942"/>
              <a:gd name="connsiteX2" fmla="*/ 2323563 w 2534878"/>
              <a:gd name="connsiteY2" fmla="*/ 380735 h 4433942"/>
              <a:gd name="connsiteX3" fmla="*/ 2509024 w 2534878"/>
              <a:gd name="connsiteY3" fmla="*/ 144224 h 4433942"/>
              <a:gd name="connsiteX4" fmla="*/ 2497873 w 2534878"/>
              <a:gd name="connsiteY4" fmla="*/ 2370965 h 4433942"/>
              <a:gd name="connsiteX5" fmla="*/ 0 w 2534878"/>
              <a:gd name="connsiteY5" fmla="*/ 4433942 h 4433942"/>
              <a:gd name="connsiteX6" fmla="*/ 78056 w 2534878"/>
              <a:gd name="connsiteY6" fmla="*/ 2485982 h 4433942"/>
              <a:gd name="connsiteX0" fmla="*/ 78056 w 2534878"/>
              <a:gd name="connsiteY0" fmla="*/ 2485982 h 4433942"/>
              <a:gd name="connsiteX1" fmla="*/ 437413 w 2534878"/>
              <a:gd name="connsiteY1" fmla="*/ 1751753 h 4433942"/>
              <a:gd name="connsiteX2" fmla="*/ 2323563 w 2534878"/>
              <a:gd name="connsiteY2" fmla="*/ 380735 h 4433942"/>
              <a:gd name="connsiteX3" fmla="*/ 2509024 w 2534878"/>
              <a:gd name="connsiteY3" fmla="*/ 144224 h 4433942"/>
              <a:gd name="connsiteX4" fmla="*/ 2497873 w 2534878"/>
              <a:gd name="connsiteY4" fmla="*/ 2370965 h 4433942"/>
              <a:gd name="connsiteX5" fmla="*/ 0 w 2534878"/>
              <a:gd name="connsiteY5" fmla="*/ 4433942 h 4433942"/>
              <a:gd name="connsiteX6" fmla="*/ 78056 w 2534878"/>
              <a:gd name="connsiteY6" fmla="*/ 2485982 h 4433942"/>
              <a:gd name="connsiteX0" fmla="*/ 78056 w 2534878"/>
              <a:gd name="connsiteY0" fmla="*/ 2485982 h 4433942"/>
              <a:gd name="connsiteX1" fmla="*/ 437413 w 2534878"/>
              <a:gd name="connsiteY1" fmla="*/ 1751753 h 4433942"/>
              <a:gd name="connsiteX2" fmla="*/ 2323563 w 2534878"/>
              <a:gd name="connsiteY2" fmla="*/ 380735 h 4433942"/>
              <a:gd name="connsiteX3" fmla="*/ 2509024 w 2534878"/>
              <a:gd name="connsiteY3" fmla="*/ 144224 h 4433942"/>
              <a:gd name="connsiteX4" fmla="*/ 2497873 w 2534878"/>
              <a:gd name="connsiteY4" fmla="*/ 2370965 h 4433942"/>
              <a:gd name="connsiteX5" fmla="*/ 0 w 2534878"/>
              <a:gd name="connsiteY5" fmla="*/ 4433942 h 4433942"/>
              <a:gd name="connsiteX6" fmla="*/ 78056 w 2534878"/>
              <a:gd name="connsiteY6" fmla="*/ 2485982 h 4433942"/>
              <a:gd name="connsiteX0" fmla="*/ 78056 w 2509024"/>
              <a:gd name="connsiteY0" fmla="*/ 2679522 h 4627482"/>
              <a:gd name="connsiteX1" fmla="*/ 437413 w 2509024"/>
              <a:gd name="connsiteY1" fmla="*/ 1945293 h 4627482"/>
              <a:gd name="connsiteX2" fmla="*/ 2323563 w 2509024"/>
              <a:gd name="connsiteY2" fmla="*/ 574275 h 4627482"/>
              <a:gd name="connsiteX3" fmla="*/ 2509024 w 2509024"/>
              <a:gd name="connsiteY3" fmla="*/ 337764 h 4627482"/>
              <a:gd name="connsiteX4" fmla="*/ 2497873 w 2509024"/>
              <a:gd name="connsiteY4" fmla="*/ 2564505 h 4627482"/>
              <a:gd name="connsiteX5" fmla="*/ 0 w 2509024"/>
              <a:gd name="connsiteY5" fmla="*/ 4627482 h 4627482"/>
              <a:gd name="connsiteX6" fmla="*/ 78056 w 2509024"/>
              <a:gd name="connsiteY6" fmla="*/ 2679522 h 4627482"/>
              <a:gd name="connsiteX0" fmla="*/ 78056 w 2509024"/>
              <a:gd name="connsiteY0" fmla="*/ 2601288 h 4549248"/>
              <a:gd name="connsiteX1" fmla="*/ 437413 w 2509024"/>
              <a:gd name="connsiteY1" fmla="*/ 1867059 h 4549248"/>
              <a:gd name="connsiteX2" fmla="*/ 2323563 w 2509024"/>
              <a:gd name="connsiteY2" fmla="*/ 496041 h 4549248"/>
              <a:gd name="connsiteX3" fmla="*/ 2509024 w 2509024"/>
              <a:gd name="connsiteY3" fmla="*/ 259530 h 4549248"/>
              <a:gd name="connsiteX4" fmla="*/ 2497873 w 2509024"/>
              <a:gd name="connsiteY4" fmla="*/ 2486271 h 4549248"/>
              <a:gd name="connsiteX5" fmla="*/ 0 w 2509024"/>
              <a:gd name="connsiteY5" fmla="*/ 4549248 h 4549248"/>
              <a:gd name="connsiteX6" fmla="*/ 78056 w 2509024"/>
              <a:gd name="connsiteY6" fmla="*/ 2601288 h 4549248"/>
              <a:gd name="connsiteX0" fmla="*/ 78056 w 2509024"/>
              <a:gd name="connsiteY0" fmla="*/ 2341758 h 4289718"/>
              <a:gd name="connsiteX1" fmla="*/ 437413 w 2509024"/>
              <a:gd name="connsiteY1" fmla="*/ 1607529 h 4289718"/>
              <a:gd name="connsiteX2" fmla="*/ 2323563 w 2509024"/>
              <a:gd name="connsiteY2" fmla="*/ 236511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607529 h 4289718"/>
              <a:gd name="connsiteX2" fmla="*/ 2323563 w 2509024"/>
              <a:gd name="connsiteY2" fmla="*/ 236511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580635 h 4289718"/>
              <a:gd name="connsiteX2" fmla="*/ 2323563 w 2509024"/>
              <a:gd name="connsiteY2" fmla="*/ 236511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580635 h 4289718"/>
              <a:gd name="connsiteX2" fmla="*/ 2323563 w 2509024"/>
              <a:gd name="connsiteY2" fmla="*/ 236511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580635 h 4289718"/>
              <a:gd name="connsiteX2" fmla="*/ 2323563 w 2509024"/>
              <a:gd name="connsiteY2" fmla="*/ 236511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580635 h 4289718"/>
              <a:gd name="connsiteX2" fmla="*/ 2323563 w 2509024"/>
              <a:gd name="connsiteY2" fmla="*/ 236511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580635 h 4289718"/>
              <a:gd name="connsiteX2" fmla="*/ 2323563 w 2509024"/>
              <a:gd name="connsiteY2" fmla="*/ 236511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580635 h 4289718"/>
              <a:gd name="connsiteX2" fmla="*/ 2337010 w 2509024"/>
              <a:gd name="connsiteY2" fmla="*/ 317193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580635 h 4289718"/>
              <a:gd name="connsiteX2" fmla="*/ 2337010 w 2509024"/>
              <a:gd name="connsiteY2" fmla="*/ 317193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03796 w 2509024"/>
              <a:gd name="connsiteY1" fmla="*/ 1573912 h 4289718"/>
              <a:gd name="connsiteX2" fmla="*/ 2337010 w 2509024"/>
              <a:gd name="connsiteY2" fmla="*/ 317193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03796 w 2509024"/>
              <a:gd name="connsiteY1" fmla="*/ 1573912 h 4289718"/>
              <a:gd name="connsiteX2" fmla="*/ 2337010 w 2509024"/>
              <a:gd name="connsiteY2" fmla="*/ 317193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71031 w 2509024"/>
              <a:gd name="connsiteY1" fmla="*/ 1560465 h 4289718"/>
              <a:gd name="connsiteX2" fmla="*/ 2337010 w 2509024"/>
              <a:gd name="connsiteY2" fmla="*/ 317193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71031 w 2509024"/>
              <a:gd name="connsiteY1" fmla="*/ 1560465 h 4289718"/>
              <a:gd name="connsiteX2" fmla="*/ 2303392 w 2509024"/>
              <a:gd name="connsiteY2" fmla="*/ 330640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497873"/>
              <a:gd name="connsiteY0" fmla="*/ 2368652 h 4316612"/>
              <a:gd name="connsiteX1" fmla="*/ 471031 w 2497873"/>
              <a:gd name="connsiteY1" fmla="*/ 1587359 h 4316612"/>
              <a:gd name="connsiteX2" fmla="*/ 2303392 w 2497873"/>
              <a:gd name="connsiteY2" fmla="*/ 357534 h 4316612"/>
              <a:gd name="connsiteX3" fmla="*/ 2488854 w 2497873"/>
              <a:gd name="connsiteY3" fmla="*/ 0 h 4316612"/>
              <a:gd name="connsiteX4" fmla="*/ 2497873 w 2497873"/>
              <a:gd name="connsiteY4" fmla="*/ 2253635 h 4316612"/>
              <a:gd name="connsiteX5" fmla="*/ 0 w 2497873"/>
              <a:gd name="connsiteY5" fmla="*/ 4316612 h 4316612"/>
              <a:gd name="connsiteX6" fmla="*/ 78056 w 2497873"/>
              <a:gd name="connsiteY6" fmla="*/ 2368652 h 4316612"/>
              <a:gd name="connsiteX0" fmla="*/ 78056 w 2497873"/>
              <a:gd name="connsiteY0" fmla="*/ 2375375 h 4323335"/>
              <a:gd name="connsiteX1" fmla="*/ 471031 w 2497873"/>
              <a:gd name="connsiteY1" fmla="*/ 1594082 h 4323335"/>
              <a:gd name="connsiteX2" fmla="*/ 2303392 w 2497873"/>
              <a:gd name="connsiteY2" fmla="*/ 364257 h 4323335"/>
              <a:gd name="connsiteX3" fmla="*/ 2488854 w 2497873"/>
              <a:gd name="connsiteY3" fmla="*/ 0 h 4323335"/>
              <a:gd name="connsiteX4" fmla="*/ 2497873 w 2497873"/>
              <a:gd name="connsiteY4" fmla="*/ 2260358 h 4323335"/>
              <a:gd name="connsiteX5" fmla="*/ 0 w 2497873"/>
              <a:gd name="connsiteY5" fmla="*/ 4323335 h 4323335"/>
              <a:gd name="connsiteX6" fmla="*/ 78056 w 2497873"/>
              <a:gd name="connsiteY6" fmla="*/ 2375375 h 4323335"/>
              <a:gd name="connsiteX0" fmla="*/ 78056 w 2518043"/>
              <a:gd name="connsiteY0" fmla="*/ 2375375 h 4323335"/>
              <a:gd name="connsiteX1" fmla="*/ 471031 w 2518043"/>
              <a:gd name="connsiteY1" fmla="*/ 1594082 h 4323335"/>
              <a:gd name="connsiteX2" fmla="*/ 2303392 w 2518043"/>
              <a:gd name="connsiteY2" fmla="*/ 364257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75375 h 4323335"/>
              <a:gd name="connsiteX1" fmla="*/ 471031 w 2518043"/>
              <a:gd name="connsiteY1" fmla="*/ 1594082 h 4323335"/>
              <a:gd name="connsiteX2" fmla="*/ 2303392 w 2518043"/>
              <a:gd name="connsiteY2" fmla="*/ 364257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75375 h 4323335"/>
              <a:gd name="connsiteX1" fmla="*/ 471031 w 2518043"/>
              <a:gd name="connsiteY1" fmla="*/ 1594082 h 4323335"/>
              <a:gd name="connsiteX2" fmla="*/ 2303392 w 2518043"/>
              <a:gd name="connsiteY2" fmla="*/ 364257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75375 h 4323335"/>
              <a:gd name="connsiteX1" fmla="*/ 471031 w 2518043"/>
              <a:gd name="connsiteY1" fmla="*/ 1594082 h 4323335"/>
              <a:gd name="connsiteX2" fmla="*/ 1455245 w 2518043"/>
              <a:gd name="connsiteY2" fmla="*/ 1089579 h 4323335"/>
              <a:gd name="connsiteX3" fmla="*/ 2303392 w 2518043"/>
              <a:gd name="connsiteY3" fmla="*/ 364257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471031 w 2518043"/>
              <a:gd name="connsiteY1" fmla="*/ 1594082 h 4323335"/>
              <a:gd name="connsiteX2" fmla="*/ 1455245 w 2518043"/>
              <a:gd name="connsiteY2" fmla="*/ 1089579 h 4323335"/>
              <a:gd name="connsiteX3" fmla="*/ 2303392 w 2518043"/>
              <a:gd name="connsiteY3" fmla="*/ 364257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471031 w 2518043"/>
              <a:gd name="connsiteY1" fmla="*/ 1594082 h 4323335"/>
              <a:gd name="connsiteX2" fmla="*/ 1435075 w 2518043"/>
              <a:gd name="connsiteY2" fmla="*/ 1049238 h 4323335"/>
              <a:gd name="connsiteX3" fmla="*/ 2303392 w 2518043"/>
              <a:gd name="connsiteY3" fmla="*/ 364257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471031 w 2518043"/>
              <a:gd name="connsiteY1" fmla="*/ 1594082 h 4323335"/>
              <a:gd name="connsiteX2" fmla="*/ 1435075 w 2518043"/>
              <a:gd name="connsiteY2" fmla="*/ 1049238 h 4323335"/>
              <a:gd name="connsiteX3" fmla="*/ 2303392 w 2518043"/>
              <a:gd name="connsiteY3" fmla="*/ 364257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316390 w 2518043"/>
              <a:gd name="connsiteY1" fmla="*/ 1688211 h 4323335"/>
              <a:gd name="connsiteX2" fmla="*/ 1435075 w 2518043"/>
              <a:gd name="connsiteY2" fmla="*/ 1049238 h 4323335"/>
              <a:gd name="connsiteX3" fmla="*/ 2303392 w 2518043"/>
              <a:gd name="connsiteY3" fmla="*/ 364257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316390 w 2518043"/>
              <a:gd name="connsiteY1" fmla="*/ 1688211 h 4323335"/>
              <a:gd name="connsiteX2" fmla="*/ 1435075 w 2518043"/>
              <a:gd name="connsiteY2" fmla="*/ 1049238 h 4323335"/>
              <a:gd name="connsiteX3" fmla="*/ 2303392 w 2518043"/>
              <a:gd name="connsiteY3" fmla="*/ 364257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316390 w 2518043"/>
              <a:gd name="connsiteY1" fmla="*/ 1688211 h 4323335"/>
              <a:gd name="connsiteX2" fmla="*/ 1435075 w 2518043"/>
              <a:gd name="connsiteY2" fmla="*/ 1049238 h 4323335"/>
              <a:gd name="connsiteX3" fmla="*/ 2303392 w 2518043"/>
              <a:gd name="connsiteY3" fmla="*/ 364257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316390 w 2518043"/>
              <a:gd name="connsiteY1" fmla="*/ 1688211 h 4323335"/>
              <a:gd name="connsiteX2" fmla="*/ 1435075 w 2518043"/>
              <a:gd name="connsiteY2" fmla="*/ 1049238 h 4323335"/>
              <a:gd name="connsiteX3" fmla="*/ 2303392 w 2518043"/>
              <a:gd name="connsiteY3" fmla="*/ 364257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316390 w 2518043"/>
              <a:gd name="connsiteY1" fmla="*/ 1688211 h 4323335"/>
              <a:gd name="connsiteX2" fmla="*/ 1435075 w 2518043"/>
              <a:gd name="connsiteY2" fmla="*/ 1049238 h 4323335"/>
              <a:gd name="connsiteX3" fmla="*/ 2303392 w 2518043"/>
              <a:gd name="connsiteY3" fmla="*/ 364257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316390 w 2518043"/>
              <a:gd name="connsiteY1" fmla="*/ 1688211 h 4323335"/>
              <a:gd name="connsiteX2" fmla="*/ 1435075 w 2518043"/>
              <a:gd name="connsiteY2" fmla="*/ 1049238 h 4323335"/>
              <a:gd name="connsiteX3" fmla="*/ 2363904 w 2518043"/>
              <a:gd name="connsiteY3" fmla="*/ 391151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323113 w 2518043"/>
              <a:gd name="connsiteY1" fmla="*/ 1708382 h 4323335"/>
              <a:gd name="connsiteX2" fmla="*/ 1435075 w 2518043"/>
              <a:gd name="connsiteY2" fmla="*/ 1049238 h 4323335"/>
              <a:gd name="connsiteX3" fmla="*/ 2363904 w 2518043"/>
              <a:gd name="connsiteY3" fmla="*/ 391151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323113 w 2518043"/>
              <a:gd name="connsiteY1" fmla="*/ 1708382 h 4323335"/>
              <a:gd name="connsiteX2" fmla="*/ 1435075 w 2518043"/>
              <a:gd name="connsiteY2" fmla="*/ 1049238 h 4323335"/>
              <a:gd name="connsiteX3" fmla="*/ 2316839 w 2518043"/>
              <a:gd name="connsiteY3" fmla="*/ 397874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323113 w 2518043"/>
              <a:gd name="connsiteY1" fmla="*/ 1708382 h 4323335"/>
              <a:gd name="connsiteX2" fmla="*/ 1435075 w 2518043"/>
              <a:gd name="connsiteY2" fmla="*/ 1049238 h 4323335"/>
              <a:gd name="connsiteX3" fmla="*/ 2316839 w 2518043"/>
              <a:gd name="connsiteY3" fmla="*/ 397874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323113 w 2518043"/>
              <a:gd name="connsiteY1" fmla="*/ 1708382 h 4323335"/>
              <a:gd name="connsiteX2" fmla="*/ 1435075 w 2518043"/>
              <a:gd name="connsiteY2" fmla="*/ 1049238 h 4323335"/>
              <a:gd name="connsiteX3" fmla="*/ 2303392 w 2518043"/>
              <a:gd name="connsiteY3" fmla="*/ 397874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323113 w 2518043"/>
              <a:gd name="connsiteY1" fmla="*/ 1708382 h 4323335"/>
              <a:gd name="connsiteX2" fmla="*/ 2303392 w 2518043"/>
              <a:gd name="connsiteY2" fmla="*/ 397874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75375 h 4323335"/>
              <a:gd name="connsiteX1" fmla="*/ 484478 w 2518043"/>
              <a:gd name="connsiteY1" fmla="*/ 1533570 h 4323335"/>
              <a:gd name="connsiteX2" fmla="*/ 2303392 w 2518043"/>
              <a:gd name="connsiteY2" fmla="*/ 397874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75375 h 4323335"/>
              <a:gd name="connsiteX1" fmla="*/ 484478 w 2518043"/>
              <a:gd name="connsiteY1" fmla="*/ 1533570 h 4323335"/>
              <a:gd name="connsiteX2" fmla="*/ 2303392 w 2518043"/>
              <a:gd name="connsiteY2" fmla="*/ 397874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75375 h 4323335"/>
              <a:gd name="connsiteX1" fmla="*/ 484478 w 2518043"/>
              <a:gd name="connsiteY1" fmla="*/ 1533570 h 4323335"/>
              <a:gd name="connsiteX2" fmla="*/ 2303392 w 2518043"/>
              <a:gd name="connsiteY2" fmla="*/ 397874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75375 h 4323335"/>
              <a:gd name="connsiteX1" fmla="*/ 477755 w 2518043"/>
              <a:gd name="connsiteY1" fmla="*/ 1594082 h 4323335"/>
              <a:gd name="connsiteX2" fmla="*/ 2303392 w 2518043"/>
              <a:gd name="connsiteY2" fmla="*/ 397874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75375 h 4323335"/>
              <a:gd name="connsiteX1" fmla="*/ 477755 w 2518043"/>
              <a:gd name="connsiteY1" fmla="*/ 1594082 h 4323335"/>
              <a:gd name="connsiteX2" fmla="*/ 2303392 w 2518043"/>
              <a:gd name="connsiteY2" fmla="*/ 397874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75375 h 4323335"/>
              <a:gd name="connsiteX1" fmla="*/ 477755 w 2518043"/>
              <a:gd name="connsiteY1" fmla="*/ 1594082 h 4323335"/>
              <a:gd name="connsiteX2" fmla="*/ 2303392 w 2518043"/>
              <a:gd name="connsiteY2" fmla="*/ 397874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75375 h 4323335"/>
              <a:gd name="connsiteX1" fmla="*/ 477755 w 2518043"/>
              <a:gd name="connsiteY1" fmla="*/ 1594082 h 4323335"/>
              <a:gd name="connsiteX2" fmla="*/ 2303392 w 2518043"/>
              <a:gd name="connsiteY2" fmla="*/ 397874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81300 h 4329260"/>
              <a:gd name="connsiteX1" fmla="*/ 477755 w 2518043"/>
              <a:gd name="connsiteY1" fmla="*/ 1600007 h 4329260"/>
              <a:gd name="connsiteX2" fmla="*/ 2488854 w 2518043"/>
              <a:gd name="connsiteY2" fmla="*/ 5925 h 4329260"/>
              <a:gd name="connsiteX3" fmla="*/ 2518043 w 2518043"/>
              <a:gd name="connsiteY3" fmla="*/ 2225942 h 4329260"/>
              <a:gd name="connsiteX4" fmla="*/ 0 w 2518043"/>
              <a:gd name="connsiteY4" fmla="*/ 4329260 h 4329260"/>
              <a:gd name="connsiteX5" fmla="*/ 78056 w 2518043"/>
              <a:gd name="connsiteY5" fmla="*/ 2381300 h 4329260"/>
              <a:gd name="connsiteX0" fmla="*/ 78056 w 2518043"/>
              <a:gd name="connsiteY0" fmla="*/ 2425683 h 4373643"/>
              <a:gd name="connsiteX1" fmla="*/ 477755 w 2518043"/>
              <a:gd name="connsiteY1" fmla="*/ 1644390 h 4373643"/>
              <a:gd name="connsiteX2" fmla="*/ 2488854 w 2518043"/>
              <a:gd name="connsiteY2" fmla="*/ 50308 h 4373643"/>
              <a:gd name="connsiteX3" fmla="*/ 2518043 w 2518043"/>
              <a:gd name="connsiteY3" fmla="*/ 2270325 h 4373643"/>
              <a:gd name="connsiteX4" fmla="*/ 0 w 2518043"/>
              <a:gd name="connsiteY4" fmla="*/ 4373643 h 4373643"/>
              <a:gd name="connsiteX5" fmla="*/ 78056 w 2518043"/>
              <a:gd name="connsiteY5" fmla="*/ 2425683 h 4373643"/>
              <a:gd name="connsiteX0" fmla="*/ 78056 w 2518043"/>
              <a:gd name="connsiteY0" fmla="*/ 2516420 h 4464380"/>
              <a:gd name="connsiteX1" fmla="*/ 477755 w 2518043"/>
              <a:gd name="connsiteY1" fmla="*/ 1735127 h 4464380"/>
              <a:gd name="connsiteX2" fmla="*/ 1974770 w 2518043"/>
              <a:gd name="connsiteY2" fmla="*/ 391109 h 4464380"/>
              <a:gd name="connsiteX3" fmla="*/ 2488854 w 2518043"/>
              <a:gd name="connsiteY3" fmla="*/ 141045 h 4464380"/>
              <a:gd name="connsiteX4" fmla="*/ 2518043 w 2518043"/>
              <a:gd name="connsiteY4" fmla="*/ 2361062 h 4464380"/>
              <a:gd name="connsiteX5" fmla="*/ 0 w 2518043"/>
              <a:gd name="connsiteY5" fmla="*/ 4464380 h 4464380"/>
              <a:gd name="connsiteX6" fmla="*/ 78056 w 2518043"/>
              <a:gd name="connsiteY6" fmla="*/ 2516420 h 4464380"/>
              <a:gd name="connsiteX0" fmla="*/ 78056 w 2518043"/>
              <a:gd name="connsiteY0" fmla="*/ 2449667 h 4397627"/>
              <a:gd name="connsiteX1" fmla="*/ 477755 w 2518043"/>
              <a:gd name="connsiteY1" fmla="*/ 1668374 h 4397627"/>
              <a:gd name="connsiteX2" fmla="*/ 1920981 w 2518043"/>
              <a:gd name="connsiteY2" fmla="*/ 862239 h 4397627"/>
              <a:gd name="connsiteX3" fmla="*/ 2488854 w 2518043"/>
              <a:gd name="connsiteY3" fmla="*/ 74292 h 4397627"/>
              <a:gd name="connsiteX4" fmla="*/ 2518043 w 2518043"/>
              <a:gd name="connsiteY4" fmla="*/ 2294309 h 4397627"/>
              <a:gd name="connsiteX5" fmla="*/ 0 w 2518043"/>
              <a:gd name="connsiteY5" fmla="*/ 4397627 h 4397627"/>
              <a:gd name="connsiteX6" fmla="*/ 78056 w 2518043"/>
              <a:gd name="connsiteY6" fmla="*/ 2449667 h 4397627"/>
              <a:gd name="connsiteX0" fmla="*/ 78056 w 2518043"/>
              <a:gd name="connsiteY0" fmla="*/ 2449667 h 4397627"/>
              <a:gd name="connsiteX1" fmla="*/ 477755 w 2518043"/>
              <a:gd name="connsiteY1" fmla="*/ 1668374 h 4397627"/>
              <a:gd name="connsiteX2" fmla="*/ 1920981 w 2518043"/>
              <a:gd name="connsiteY2" fmla="*/ 862239 h 4397627"/>
              <a:gd name="connsiteX3" fmla="*/ 2488854 w 2518043"/>
              <a:gd name="connsiteY3" fmla="*/ 74292 h 4397627"/>
              <a:gd name="connsiteX4" fmla="*/ 2518043 w 2518043"/>
              <a:gd name="connsiteY4" fmla="*/ 2294309 h 4397627"/>
              <a:gd name="connsiteX5" fmla="*/ 0 w 2518043"/>
              <a:gd name="connsiteY5" fmla="*/ 4397627 h 4397627"/>
              <a:gd name="connsiteX6" fmla="*/ 78056 w 2518043"/>
              <a:gd name="connsiteY6" fmla="*/ 2449667 h 4397627"/>
              <a:gd name="connsiteX0" fmla="*/ 78056 w 2518043"/>
              <a:gd name="connsiteY0" fmla="*/ 2449667 h 4397627"/>
              <a:gd name="connsiteX1" fmla="*/ 477755 w 2518043"/>
              <a:gd name="connsiteY1" fmla="*/ 1668374 h 4397627"/>
              <a:gd name="connsiteX2" fmla="*/ 1920981 w 2518043"/>
              <a:gd name="connsiteY2" fmla="*/ 862239 h 4397627"/>
              <a:gd name="connsiteX3" fmla="*/ 2488854 w 2518043"/>
              <a:gd name="connsiteY3" fmla="*/ 74292 h 4397627"/>
              <a:gd name="connsiteX4" fmla="*/ 2518043 w 2518043"/>
              <a:gd name="connsiteY4" fmla="*/ 2294309 h 4397627"/>
              <a:gd name="connsiteX5" fmla="*/ 0 w 2518043"/>
              <a:gd name="connsiteY5" fmla="*/ 4397627 h 4397627"/>
              <a:gd name="connsiteX6" fmla="*/ 78056 w 2518043"/>
              <a:gd name="connsiteY6" fmla="*/ 2449667 h 4397627"/>
              <a:gd name="connsiteX0" fmla="*/ 78056 w 2518043"/>
              <a:gd name="connsiteY0" fmla="*/ 2375375 h 4323335"/>
              <a:gd name="connsiteX1" fmla="*/ 477755 w 2518043"/>
              <a:gd name="connsiteY1" fmla="*/ 1594082 h 4323335"/>
              <a:gd name="connsiteX2" fmla="*/ 1920981 w 2518043"/>
              <a:gd name="connsiteY2" fmla="*/ 787947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75375 h 4323335"/>
              <a:gd name="connsiteX1" fmla="*/ 477755 w 2518043"/>
              <a:gd name="connsiteY1" fmla="*/ 1594082 h 4323335"/>
              <a:gd name="connsiteX2" fmla="*/ 1920981 w 2518043"/>
              <a:gd name="connsiteY2" fmla="*/ 787947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783330 w 2531490"/>
              <a:gd name="connsiteY2" fmla="*/ 669960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23579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23579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23579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23579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23579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23579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23579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23579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23579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23579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23579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53076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878544 w 2538214"/>
              <a:gd name="connsiteY2" fmla="*/ 827277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878544 w 2538214"/>
              <a:gd name="connsiteY2" fmla="*/ 827277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878544 w 2538214"/>
              <a:gd name="connsiteY2" fmla="*/ 827277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878544 w 2538214"/>
              <a:gd name="connsiteY2" fmla="*/ 827277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878544 w 2538214"/>
              <a:gd name="connsiteY2" fmla="*/ 827277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878544 w 2538214"/>
              <a:gd name="connsiteY2" fmla="*/ 827277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878544 w 2538214"/>
              <a:gd name="connsiteY2" fmla="*/ 827277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878544 w 2538214"/>
              <a:gd name="connsiteY2" fmla="*/ 827277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878544 w 2538214"/>
              <a:gd name="connsiteY2" fmla="*/ 827277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878544 w 2538214"/>
              <a:gd name="connsiteY2" fmla="*/ 827277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902076 w 2538214"/>
              <a:gd name="connsiteY2" fmla="*/ 830639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902076 w 2538214"/>
              <a:gd name="connsiteY2" fmla="*/ 830639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902076 w 2538214"/>
              <a:gd name="connsiteY2" fmla="*/ 830639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902076 w 2538214"/>
              <a:gd name="connsiteY2" fmla="*/ 830639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902076 w 2538214"/>
              <a:gd name="connsiteY2" fmla="*/ 830639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902076 w 2538214"/>
              <a:gd name="connsiteY2" fmla="*/ 830639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902076 w 2538214"/>
              <a:gd name="connsiteY2" fmla="*/ 830639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902076 w 2538214"/>
              <a:gd name="connsiteY2" fmla="*/ 830639 h 4390571"/>
              <a:gd name="connsiteX3" fmla="*/ 2502302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2014 h 4387210"/>
              <a:gd name="connsiteX1" fmla="*/ 425486 w 2538214"/>
              <a:gd name="connsiteY1" fmla="*/ 1649715 h 4387210"/>
              <a:gd name="connsiteX2" fmla="*/ 1902076 w 2538214"/>
              <a:gd name="connsiteY2" fmla="*/ 827278 h 4387210"/>
              <a:gd name="connsiteX3" fmla="*/ 2492216 w 2538214"/>
              <a:gd name="connsiteY3" fmla="*/ 0 h 4387210"/>
              <a:gd name="connsiteX4" fmla="*/ 2538214 w 2538214"/>
              <a:gd name="connsiteY4" fmla="*/ 2223379 h 4387210"/>
              <a:gd name="connsiteX5" fmla="*/ 0 w 2538214"/>
              <a:gd name="connsiteY5" fmla="*/ 4387210 h 4387210"/>
              <a:gd name="connsiteX6" fmla="*/ 84780 w 2538214"/>
              <a:gd name="connsiteY6" fmla="*/ 2372014 h 4387210"/>
              <a:gd name="connsiteX0" fmla="*/ 84780 w 2538214"/>
              <a:gd name="connsiteY0" fmla="*/ 2331673 h 4346869"/>
              <a:gd name="connsiteX1" fmla="*/ 425486 w 2538214"/>
              <a:gd name="connsiteY1" fmla="*/ 1609374 h 4346869"/>
              <a:gd name="connsiteX2" fmla="*/ 1902076 w 2538214"/>
              <a:gd name="connsiteY2" fmla="*/ 786937 h 4346869"/>
              <a:gd name="connsiteX3" fmla="*/ 2492216 w 2538214"/>
              <a:gd name="connsiteY3" fmla="*/ 0 h 4346869"/>
              <a:gd name="connsiteX4" fmla="*/ 2538214 w 2538214"/>
              <a:gd name="connsiteY4" fmla="*/ 2183038 h 4346869"/>
              <a:gd name="connsiteX5" fmla="*/ 0 w 2538214"/>
              <a:gd name="connsiteY5" fmla="*/ 4346869 h 4346869"/>
              <a:gd name="connsiteX6" fmla="*/ 84780 w 2538214"/>
              <a:gd name="connsiteY6" fmla="*/ 2331673 h 4346869"/>
              <a:gd name="connsiteX0" fmla="*/ 84780 w 2538214"/>
              <a:gd name="connsiteY0" fmla="*/ 2348482 h 4363678"/>
              <a:gd name="connsiteX1" fmla="*/ 425486 w 2538214"/>
              <a:gd name="connsiteY1" fmla="*/ 1626183 h 4363678"/>
              <a:gd name="connsiteX2" fmla="*/ 1902076 w 2538214"/>
              <a:gd name="connsiteY2" fmla="*/ 803746 h 4363678"/>
              <a:gd name="connsiteX3" fmla="*/ 2492216 w 2538214"/>
              <a:gd name="connsiteY3" fmla="*/ 0 h 4363678"/>
              <a:gd name="connsiteX4" fmla="*/ 2538214 w 2538214"/>
              <a:gd name="connsiteY4" fmla="*/ 2199847 h 4363678"/>
              <a:gd name="connsiteX5" fmla="*/ 0 w 2538214"/>
              <a:gd name="connsiteY5" fmla="*/ 4363678 h 4363678"/>
              <a:gd name="connsiteX6" fmla="*/ 84780 w 2538214"/>
              <a:gd name="connsiteY6" fmla="*/ 2348482 h 4363678"/>
              <a:gd name="connsiteX0" fmla="*/ 84780 w 2538214"/>
              <a:gd name="connsiteY0" fmla="*/ 2348482 h 4363678"/>
              <a:gd name="connsiteX1" fmla="*/ 425486 w 2538214"/>
              <a:gd name="connsiteY1" fmla="*/ 1626183 h 4363678"/>
              <a:gd name="connsiteX2" fmla="*/ 1902076 w 2538214"/>
              <a:gd name="connsiteY2" fmla="*/ 803746 h 4363678"/>
              <a:gd name="connsiteX3" fmla="*/ 2492216 w 2538214"/>
              <a:gd name="connsiteY3" fmla="*/ 0 h 4363678"/>
              <a:gd name="connsiteX4" fmla="*/ 2538214 w 2538214"/>
              <a:gd name="connsiteY4" fmla="*/ 2199847 h 4363678"/>
              <a:gd name="connsiteX5" fmla="*/ 0 w 2538214"/>
              <a:gd name="connsiteY5" fmla="*/ 4363678 h 4363678"/>
              <a:gd name="connsiteX6" fmla="*/ 84780 w 2538214"/>
              <a:gd name="connsiteY6" fmla="*/ 2348482 h 4363678"/>
              <a:gd name="connsiteX0" fmla="*/ 84780 w 2538214"/>
              <a:gd name="connsiteY0" fmla="*/ 2348482 h 4363678"/>
              <a:gd name="connsiteX1" fmla="*/ 425486 w 2538214"/>
              <a:gd name="connsiteY1" fmla="*/ 1626183 h 4363678"/>
              <a:gd name="connsiteX2" fmla="*/ 1902076 w 2538214"/>
              <a:gd name="connsiteY2" fmla="*/ 803746 h 4363678"/>
              <a:gd name="connsiteX3" fmla="*/ 2492216 w 2538214"/>
              <a:gd name="connsiteY3" fmla="*/ 0 h 4363678"/>
              <a:gd name="connsiteX4" fmla="*/ 2538214 w 2538214"/>
              <a:gd name="connsiteY4" fmla="*/ 2199847 h 4363678"/>
              <a:gd name="connsiteX5" fmla="*/ 0 w 2538214"/>
              <a:gd name="connsiteY5" fmla="*/ 4363678 h 4363678"/>
              <a:gd name="connsiteX6" fmla="*/ 84780 w 2538214"/>
              <a:gd name="connsiteY6" fmla="*/ 2348482 h 4363678"/>
              <a:gd name="connsiteX0" fmla="*/ 84780 w 2538214"/>
              <a:gd name="connsiteY0" fmla="*/ 2348482 h 4363678"/>
              <a:gd name="connsiteX1" fmla="*/ 425486 w 2538214"/>
              <a:gd name="connsiteY1" fmla="*/ 1626183 h 4363678"/>
              <a:gd name="connsiteX2" fmla="*/ 1902076 w 2538214"/>
              <a:gd name="connsiteY2" fmla="*/ 803746 h 4363678"/>
              <a:gd name="connsiteX3" fmla="*/ 2492216 w 2538214"/>
              <a:gd name="connsiteY3" fmla="*/ 0 h 4363678"/>
              <a:gd name="connsiteX4" fmla="*/ 2538214 w 2538214"/>
              <a:gd name="connsiteY4" fmla="*/ 2199847 h 4363678"/>
              <a:gd name="connsiteX5" fmla="*/ 0 w 2538214"/>
              <a:gd name="connsiteY5" fmla="*/ 4363678 h 4363678"/>
              <a:gd name="connsiteX6" fmla="*/ 84780 w 2538214"/>
              <a:gd name="connsiteY6" fmla="*/ 2348482 h 4363678"/>
              <a:gd name="connsiteX0" fmla="*/ 84780 w 2538214"/>
              <a:gd name="connsiteY0" fmla="*/ 2348482 h 4363678"/>
              <a:gd name="connsiteX1" fmla="*/ 425486 w 2538214"/>
              <a:gd name="connsiteY1" fmla="*/ 1626183 h 4363678"/>
              <a:gd name="connsiteX2" fmla="*/ 1902076 w 2538214"/>
              <a:gd name="connsiteY2" fmla="*/ 803746 h 4363678"/>
              <a:gd name="connsiteX3" fmla="*/ 2492216 w 2538214"/>
              <a:gd name="connsiteY3" fmla="*/ 0 h 4363678"/>
              <a:gd name="connsiteX4" fmla="*/ 2538214 w 2538214"/>
              <a:gd name="connsiteY4" fmla="*/ 2199847 h 4363678"/>
              <a:gd name="connsiteX5" fmla="*/ 0 w 2538214"/>
              <a:gd name="connsiteY5" fmla="*/ 4363678 h 4363678"/>
              <a:gd name="connsiteX6" fmla="*/ 84780 w 2538214"/>
              <a:gd name="connsiteY6" fmla="*/ 2348482 h 4363678"/>
              <a:gd name="connsiteX0" fmla="*/ 84780 w 2538214"/>
              <a:gd name="connsiteY0" fmla="*/ 2348482 h 4363678"/>
              <a:gd name="connsiteX1" fmla="*/ 422125 w 2538214"/>
              <a:gd name="connsiteY1" fmla="*/ 1642991 h 4363678"/>
              <a:gd name="connsiteX2" fmla="*/ 1902076 w 2538214"/>
              <a:gd name="connsiteY2" fmla="*/ 803746 h 4363678"/>
              <a:gd name="connsiteX3" fmla="*/ 2492216 w 2538214"/>
              <a:gd name="connsiteY3" fmla="*/ 0 h 4363678"/>
              <a:gd name="connsiteX4" fmla="*/ 2538214 w 2538214"/>
              <a:gd name="connsiteY4" fmla="*/ 2199847 h 4363678"/>
              <a:gd name="connsiteX5" fmla="*/ 0 w 2538214"/>
              <a:gd name="connsiteY5" fmla="*/ 4363678 h 4363678"/>
              <a:gd name="connsiteX6" fmla="*/ 84780 w 2538214"/>
              <a:gd name="connsiteY6" fmla="*/ 2348482 h 4363678"/>
              <a:gd name="connsiteX0" fmla="*/ 84780 w 2538214"/>
              <a:gd name="connsiteY0" fmla="*/ 2348482 h 4363678"/>
              <a:gd name="connsiteX1" fmla="*/ 422125 w 2538214"/>
              <a:gd name="connsiteY1" fmla="*/ 1642991 h 4363678"/>
              <a:gd name="connsiteX2" fmla="*/ 1902076 w 2538214"/>
              <a:gd name="connsiteY2" fmla="*/ 803746 h 4363678"/>
              <a:gd name="connsiteX3" fmla="*/ 2492216 w 2538214"/>
              <a:gd name="connsiteY3" fmla="*/ 0 h 4363678"/>
              <a:gd name="connsiteX4" fmla="*/ 2538214 w 2538214"/>
              <a:gd name="connsiteY4" fmla="*/ 2199847 h 4363678"/>
              <a:gd name="connsiteX5" fmla="*/ 0 w 2538214"/>
              <a:gd name="connsiteY5" fmla="*/ 4363678 h 4363678"/>
              <a:gd name="connsiteX6" fmla="*/ 84780 w 2538214"/>
              <a:gd name="connsiteY6" fmla="*/ 2348482 h 4363678"/>
              <a:gd name="connsiteX0" fmla="*/ 84780 w 2538214"/>
              <a:gd name="connsiteY0" fmla="*/ 2348482 h 4363678"/>
              <a:gd name="connsiteX1" fmla="*/ 415401 w 2538214"/>
              <a:gd name="connsiteY1" fmla="*/ 1636268 h 4363678"/>
              <a:gd name="connsiteX2" fmla="*/ 1902076 w 2538214"/>
              <a:gd name="connsiteY2" fmla="*/ 803746 h 4363678"/>
              <a:gd name="connsiteX3" fmla="*/ 2492216 w 2538214"/>
              <a:gd name="connsiteY3" fmla="*/ 0 h 4363678"/>
              <a:gd name="connsiteX4" fmla="*/ 2538214 w 2538214"/>
              <a:gd name="connsiteY4" fmla="*/ 2199847 h 4363678"/>
              <a:gd name="connsiteX5" fmla="*/ 0 w 2538214"/>
              <a:gd name="connsiteY5" fmla="*/ 4363678 h 4363678"/>
              <a:gd name="connsiteX6" fmla="*/ 84780 w 2538214"/>
              <a:gd name="connsiteY6" fmla="*/ 2348482 h 4363678"/>
              <a:gd name="connsiteX0" fmla="*/ 84780 w 2538214"/>
              <a:gd name="connsiteY0" fmla="*/ 2348482 h 4363678"/>
              <a:gd name="connsiteX1" fmla="*/ 415401 w 2538214"/>
              <a:gd name="connsiteY1" fmla="*/ 1636268 h 4363678"/>
              <a:gd name="connsiteX2" fmla="*/ 1902076 w 2538214"/>
              <a:gd name="connsiteY2" fmla="*/ 803746 h 4363678"/>
              <a:gd name="connsiteX3" fmla="*/ 2492216 w 2538214"/>
              <a:gd name="connsiteY3" fmla="*/ 0 h 4363678"/>
              <a:gd name="connsiteX4" fmla="*/ 2538214 w 2538214"/>
              <a:gd name="connsiteY4" fmla="*/ 2199847 h 4363678"/>
              <a:gd name="connsiteX5" fmla="*/ 0 w 2538214"/>
              <a:gd name="connsiteY5" fmla="*/ 4363678 h 4363678"/>
              <a:gd name="connsiteX6" fmla="*/ 84780 w 2538214"/>
              <a:gd name="connsiteY6" fmla="*/ 2348482 h 4363678"/>
              <a:gd name="connsiteX0" fmla="*/ 84780 w 2538214"/>
              <a:gd name="connsiteY0" fmla="*/ 2348482 h 4363678"/>
              <a:gd name="connsiteX1" fmla="*/ 415401 w 2538214"/>
              <a:gd name="connsiteY1" fmla="*/ 1636268 h 4363678"/>
              <a:gd name="connsiteX2" fmla="*/ 1902076 w 2538214"/>
              <a:gd name="connsiteY2" fmla="*/ 803746 h 4363678"/>
              <a:gd name="connsiteX3" fmla="*/ 2492216 w 2538214"/>
              <a:gd name="connsiteY3" fmla="*/ 0 h 4363678"/>
              <a:gd name="connsiteX4" fmla="*/ 2538214 w 2538214"/>
              <a:gd name="connsiteY4" fmla="*/ 2199847 h 4363678"/>
              <a:gd name="connsiteX5" fmla="*/ 0 w 2538214"/>
              <a:gd name="connsiteY5" fmla="*/ 4363678 h 4363678"/>
              <a:gd name="connsiteX6" fmla="*/ 84780 w 2538214"/>
              <a:gd name="connsiteY6" fmla="*/ 2348482 h 4363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38214" h="4363678">
                <a:moveTo>
                  <a:pt x="84780" y="2348482"/>
                </a:moveTo>
                <a:cubicBezTo>
                  <a:pt x="90374" y="2015841"/>
                  <a:pt x="105736" y="1838504"/>
                  <a:pt x="415401" y="1636268"/>
                </a:cubicBezTo>
                <a:cubicBezTo>
                  <a:pt x="769969" y="1404707"/>
                  <a:pt x="1199208" y="1213482"/>
                  <a:pt x="1902076" y="803746"/>
                </a:cubicBezTo>
                <a:cubicBezTo>
                  <a:pt x="2148768" y="626557"/>
                  <a:pt x="2351244" y="381007"/>
                  <a:pt x="2492216" y="0"/>
                </a:cubicBezTo>
                <a:cubicBezTo>
                  <a:pt x="2508669" y="754573"/>
                  <a:pt x="2535208" y="1448635"/>
                  <a:pt x="2538214" y="2199847"/>
                </a:cubicBezTo>
                <a:cubicBezTo>
                  <a:pt x="2032689" y="3343421"/>
                  <a:pt x="85137" y="3365234"/>
                  <a:pt x="0" y="4363678"/>
                </a:cubicBezTo>
                <a:cubicBezTo>
                  <a:pt x="22302" y="3740378"/>
                  <a:pt x="40176" y="3350923"/>
                  <a:pt x="84780" y="2348482"/>
                </a:cubicBezTo>
                <a:close/>
              </a:path>
            </a:pathLst>
          </a:custGeom>
          <a:blipFill dpi="0" rotWithShape="0">
            <a:blip r:embed="rId2"/>
            <a:srcRect/>
            <a:stretch>
              <a:fillRect l="-77942" t="248" r="-79936" b="-248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endParaRPr lang="en-US" sz="1350" b="1" cap="none" spc="0" dirty="0">
              <a:ln/>
              <a:noFill/>
              <a:effectLst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0468A15-6C76-4E8C-9353-06E74AC52D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50561" y="1185564"/>
            <a:ext cx="5585639" cy="3081726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ts val="6000"/>
              </a:lnSpc>
              <a:defRPr sz="50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7A9860A-827B-4200-A6CE-3B11596AA3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50564" y="3706007"/>
            <a:ext cx="365760" cy="27850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BD4E029F-F69C-48FE-9B00-56E838F7A9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50564" y="3913971"/>
            <a:ext cx="5585640" cy="963990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>
                <a:solidFill>
                  <a:schemeClr val="bg1"/>
                </a:solidFill>
              </a:defRPr>
            </a:lvl1pPr>
            <a:lvl2pPr marL="4571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Text Placeholder 23">
            <a:extLst>
              <a:ext uri="{FF2B5EF4-FFF2-40B4-BE49-F238E27FC236}">
                <a16:creationId xmlns:a16="http://schemas.microsoft.com/office/drawing/2014/main" id="{CB3DAA8E-53A4-4ACF-A3D2-B77AF5D395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50564" y="5771542"/>
            <a:ext cx="5595797" cy="299814"/>
          </a:xfrm>
        </p:spPr>
        <p:txBody>
          <a:bodyPr lIns="0" tIns="0" rIns="0" bIns="0">
            <a:noAutofit/>
          </a:bodyPr>
          <a:lstStyle>
            <a:lvl1pPr>
              <a:buFontTx/>
              <a:buNone/>
              <a:defRPr sz="20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Insert Presenter’s Nam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A263FA8-84F1-41F5-AD73-6B1B76D561B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3152" y="5208403"/>
            <a:ext cx="1804887" cy="1126278"/>
          </a:xfrm>
          <a:prstGeom prst="rect">
            <a:avLst/>
          </a:prstGeom>
        </p:spPr>
      </p:pic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02E03918-485A-4F23-AFE9-26105F0948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40407" y="6126559"/>
            <a:ext cx="5595797" cy="299814"/>
          </a:xfrm>
        </p:spPr>
        <p:txBody>
          <a:bodyPr lIns="0" tIns="0" rIns="0" bIns="0">
            <a:normAutofit/>
          </a:bodyPr>
          <a:lstStyle>
            <a:lvl1pPr>
              <a:buFontTx/>
              <a:buNone/>
              <a:defRPr sz="16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October 08, 2018</a:t>
            </a:r>
          </a:p>
        </p:txBody>
      </p:sp>
    </p:spTree>
    <p:extLst>
      <p:ext uri="{BB962C8B-B14F-4D97-AF65-F5344CB8AC3E}">
        <p14:creationId xmlns:p14="http://schemas.microsoft.com/office/powerpoint/2010/main" val="3071686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F7EC02F-88AB-49A8-8431-6FAD9691DF40}"/>
              </a:ext>
            </a:extLst>
          </p:cNvPr>
          <p:cNvSpPr/>
          <p:nvPr userDrawn="1"/>
        </p:nvSpPr>
        <p:spPr>
          <a:xfrm>
            <a:off x="0" y="0"/>
            <a:ext cx="12192000" cy="1959429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E71CBD8-7917-42CA-9EE2-38B73E8CBE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tx1">
                <a:lumMod val="90000"/>
                <a:lumOff val="10000"/>
                <a:tint val="45000"/>
                <a:satMod val="400000"/>
              </a:schemeClr>
            </a:duotone>
            <a:alphaModFix amt="50000"/>
          </a:blip>
          <a:stretch>
            <a:fillRect/>
          </a:stretch>
        </p:blipFill>
        <p:spPr>
          <a:xfrm>
            <a:off x="9560602" y="68701"/>
            <a:ext cx="1837330" cy="568489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6895995-CCCE-40F8-8E3F-3DF5349F0F4D}"/>
              </a:ext>
            </a:extLst>
          </p:cNvPr>
          <p:cNvSpPr/>
          <p:nvPr userDrawn="1"/>
        </p:nvSpPr>
        <p:spPr>
          <a:xfrm>
            <a:off x="0" y="1959429"/>
            <a:ext cx="12192000" cy="489857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7F0D9D45-57F7-8648-8D54-5AB51C292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16653" y="6084217"/>
            <a:ext cx="507261" cy="365125"/>
          </a:xfrm>
        </p:spPr>
        <p:txBody>
          <a:bodyPr/>
          <a:lstStyle>
            <a:lvl1pPr>
              <a:defRPr sz="1300" baseline="0"/>
            </a:lvl1pPr>
          </a:lstStyle>
          <a:p>
            <a:fld id="{4B52A89A-C1B0-2442-8250-577B108BB3A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6F67B7E-56C0-4621-9BF4-63AA5F04011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74691" y="5677395"/>
            <a:ext cx="1640361" cy="1127748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2457FA3-C10F-43A4-9C91-97080EB807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403225"/>
            <a:ext cx="10930070" cy="481013"/>
          </a:xfrm>
        </p:spPr>
        <p:txBody>
          <a:bodyPr>
            <a:noAutofit/>
          </a:bodyPr>
          <a:lstStyle>
            <a:lvl1pPr marL="0" indent="0">
              <a:buNone/>
              <a:defRPr sz="1600" b="1" kern="4000" cap="all" spc="0" baseline="0">
                <a:solidFill>
                  <a:schemeClr val="accent3"/>
                </a:solidFill>
                <a:effectLst/>
              </a:defRPr>
            </a:lvl1pPr>
            <a:lvl2pPr marL="457165" indent="0">
              <a:buNone/>
              <a:defRPr>
                <a:solidFill>
                  <a:schemeClr val="accent3"/>
                </a:solidFill>
              </a:defRPr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3" indent="0"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18B6EDE-BCF4-471A-A9F4-F00F1EB516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870" y="1117925"/>
            <a:ext cx="10972800" cy="841504"/>
          </a:xfrm>
        </p:spPr>
        <p:txBody>
          <a:bodyPr anchor="t" anchorCtr="0">
            <a:normAutofit/>
          </a:bodyPr>
          <a:lstStyle>
            <a:lvl1pPr>
              <a:defRPr sz="4000" b="1" baseline="0">
                <a:solidFill>
                  <a:schemeClr val="bg1"/>
                </a:solidFill>
                <a:latin typeface="Oxyge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0A0C967-007C-4643-9752-05F3754055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290048"/>
            <a:ext cx="10930070" cy="334461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022537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2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F7EC02F-88AB-49A8-8431-6FAD9691DF40}"/>
              </a:ext>
            </a:extLst>
          </p:cNvPr>
          <p:cNvSpPr/>
          <p:nvPr userDrawn="1"/>
        </p:nvSpPr>
        <p:spPr>
          <a:xfrm>
            <a:off x="0" y="0"/>
            <a:ext cx="12192000" cy="1959429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E71CBD8-7917-42CA-9EE2-38B73E8CBE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tx1">
                <a:lumMod val="90000"/>
                <a:lumOff val="10000"/>
                <a:tint val="45000"/>
                <a:satMod val="400000"/>
              </a:schemeClr>
            </a:duotone>
            <a:alphaModFix amt="50000"/>
          </a:blip>
          <a:stretch>
            <a:fillRect/>
          </a:stretch>
        </p:blipFill>
        <p:spPr>
          <a:xfrm>
            <a:off x="9560602" y="68701"/>
            <a:ext cx="1837330" cy="568489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6895995-CCCE-40F8-8E3F-3DF5349F0F4D}"/>
              </a:ext>
            </a:extLst>
          </p:cNvPr>
          <p:cNvSpPr/>
          <p:nvPr userDrawn="1"/>
        </p:nvSpPr>
        <p:spPr>
          <a:xfrm>
            <a:off x="0" y="1959429"/>
            <a:ext cx="12192000" cy="489857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870" y="1117925"/>
            <a:ext cx="10972800" cy="841504"/>
          </a:xfrm>
        </p:spPr>
        <p:txBody>
          <a:bodyPr anchor="t" anchorCtr="0">
            <a:normAutofit/>
          </a:bodyPr>
          <a:lstStyle>
            <a:lvl1pPr>
              <a:defRPr sz="4000" b="1" baseline="0">
                <a:solidFill>
                  <a:schemeClr val="bg1"/>
                </a:solidFill>
                <a:latin typeface="Oxyge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7F0D9D45-57F7-8648-8D54-5AB51C292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16653" y="6084217"/>
            <a:ext cx="507261" cy="365125"/>
          </a:xfrm>
        </p:spPr>
        <p:txBody>
          <a:bodyPr/>
          <a:lstStyle>
            <a:lvl1pPr>
              <a:defRPr sz="1300" baseline="0"/>
            </a:lvl1pPr>
          </a:lstStyle>
          <a:p>
            <a:fld id="{4B52A89A-C1B0-2442-8250-577B108BB3A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6F67B7E-56C0-4621-9BF4-63AA5F04011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74691" y="5677395"/>
            <a:ext cx="1640361" cy="1127748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2457FA3-C10F-43A4-9C91-97080EB807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403225"/>
            <a:ext cx="10972800" cy="481013"/>
          </a:xfrm>
        </p:spPr>
        <p:txBody>
          <a:bodyPr>
            <a:noAutofit/>
          </a:bodyPr>
          <a:lstStyle>
            <a:lvl1pPr marL="0" indent="0">
              <a:buNone/>
              <a:defRPr sz="1600" b="1" kern="4000" cap="all" spc="0" baseline="0">
                <a:solidFill>
                  <a:schemeClr val="accent3"/>
                </a:solidFill>
                <a:effectLst/>
              </a:defRPr>
            </a:lvl1pPr>
            <a:lvl2pPr marL="457165" indent="0">
              <a:buNone/>
              <a:defRPr>
                <a:solidFill>
                  <a:schemeClr val="accent3"/>
                </a:solidFill>
              </a:defRPr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3" indent="0"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C63EA8C-BC2B-43A6-85CE-B19062627F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290049"/>
            <a:ext cx="5384800" cy="333449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D31E19AD-BBF3-404E-9043-44E19C377FF3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197602" y="2290049"/>
            <a:ext cx="5384800" cy="333449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7/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4E3A7-135D-0C4C-A9A7-E9F09DD633C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1398243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Transition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2F09BCC-35DE-4563-ABF2-6DD31CA62A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tx1">
                <a:lumMod val="90000"/>
                <a:lumOff val="10000"/>
                <a:tint val="45000"/>
                <a:satMod val="400000"/>
              </a:schemeClr>
            </a:duotone>
            <a:alphaModFix amt="50000"/>
          </a:blip>
          <a:srcRect b="42843"/>
          <a:stretch/>
        </p:blipFill>
        <p:spPr>
          <a:xfrm>
            <a:off x="7801816" y="172085"/>
            <a:ext cx="3780584" cy="6685916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919DD48-8675-4FBD-BC4F-2EA4EA4825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16653" y="6084217"/>
            <a:ext cx="507261" cy="365125"/>
          </a:xfrm>
        </p:spPr>
        <p:txBody>
          <a:bodyPr/>
          <a:lstStyle>
            <a:lvl1pPr>
              <a:defRPr sz="1300" baseline="0"/>
            </a:lvl1pPr>
          </a:lstStyle>
          <a:p>
            <a:fld id="{4B52A89A-C1B0-2442-8250-577B108BB3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B1F1E9E-683E-4B00-8CF8-BC38BE509A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592991"/>
            <a:ext cx="6703801" cy="1339837"/>
          </a:xfrm>
        </p:spPr>
        <p:txBody>
          <a:bodyPr anchor="t">
            <a:normAutofit/>
          </a:bodyPr>
          <a:lstStyle>
            <a:lvl1pPr algn="l">
              <a:defRPr sz="40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384A003-7DCA-4FBA-A9F6-4C68F94333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4" y="2303927"/>
            <a:ext cx="365760" cy="27850"/>
          </a:xfrm>
          <a:prstGeom prst="rect">
            <a:avLst/>
          </a:prstGeom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E114791F-84E9-47F3-82AF-B4A85F36E8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822526"/>
            <a:ext cx="6703801" cy="481013"/>
          </a:xfrm>
        </p:spPr>
        <p:txBody>
          <a:bodyPr>
            <a:noAutofit/>
          </a:bodyPr>
          <a:lstStyle>
            <a:lvl1pPr marL="0" indent="0">
              <a:buNone/>
              <a:defRPr sz="1600" b="1" kern="4000" cap="all" spc="0" baseline="0">
                <a:solidFill>
                  <a:schemeClr val="accent3"/>
                </a:solidFill>
                <a:effectLst/>
              </a:defRPr>
            </a:lvl1pPr>
            <a:lvl2pPr marL="457165" indent="0">
              <a:buNone/>
              <a:defRPr>
                <a:solidFill>
                  <a:schemeClr val="accent3"/>
                </a:solidFill>
              </a:defRPr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3" indent="0"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90DCBE01-711D-4A9E-8EE7-B225EEB905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" y="4156349"/>
            <a:ext cx="6703801" cy="1695812"/>
          </a:xfrm>
        </p:spPr>
        <p:txBody>
          <a:bodyPr lIns="91440" tIns="45720" rIns="91440" bIns="45720">
            <a:normAutofit/>
          </a:bodyPr>
          <a:lstStyle>
            <a:lvl1pPr marL="0" indent="0" algn="l">
              <a:buNone/>
              <a:defRPr sz="2500">
                <a:solidFill>
                  <a:schemeClr val="bg1"/>
                </a:solidFill>
              </a:defRPr>
            </a:lvl1pPr>
            <a:lvl2pPr marL="4571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135131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Transition Slide w/ p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3">
            <a:extLst>
              <a:ext uri="{FF2B5EF4-FFF2-40B4-BE49-F238E27FC236}">
                <a16:creationId xmlns:a16="http://schemas.microsoft.com/office/drawing/2014/main" id="{BCA2A92B-E993-1643-8A6C-43ECC7AC7002}"/>
              </a:ext>
            </a:extLst>
          </p:cNvPr>
          <p:cNvSpPr/>
          <p:nvPr userDrawn="1"/>
        </p:nvSpPr>
        <p:spPr>
          <a:xfrm>
            <a:off x="7923740" y="680720"/>
            <a:ext cx="4410513" cy="7787271"/>
          </a:xfrm>
          <a:custGeom>
            <a:avLst/>
            <a:gdLst>
              <a:gd name="connsiteX0" fmla="*/ 0 w 2408664"/>
              <a:gd name="connsiteY0" fmla="*/ 0 h 1379248"/>
              <a:gd name="connsiteX1" fmla="*/ 2408664 w 2408664"/>
              <a:gd name="connsiteY1" fmla="*/ 0 h 1379248"/>
              <a:gd name="connsiteX2" fmla="*/ 2408664 w 2408664"/>
              <a:gd name="connsiteY2" fmla="*/ 1379248 h 1379248"/>
              <a:gd name="connsiteX3" fmla="*/ 0 w 2408664"/>
              <a:gd name="connsiteY3" fmla="*/ 1379248 h 1379248"/>
              <a:gd name="connsiteX4" fmla="*/ 0 w 2408664"/>
              <a:gd name="connsiteY4" fmla="*/ 0 h 1379248"/>
              <a:gd name="connsiteX0" fmla="*/ 0 w 3021981"/>
              <a:gd name="connsiteY0" fmla="*/ 1371600 h 2750848"/>
              <a:gd name="connsiteX1" fmla="*/ 3021981 w 3021981"/>
              <a:gd name="connsiteY1" fmla="*/ 0 h 2750848"/>
              <a:gd name="connsiteX2" fmla="*/ 2408664 w 3021981"/>
              <a:gd name="connsiteY2" fmla="*/ 2750848 h 2750848"/>
              <a:gd name="connsiteX3" fmla="*/ 0 w 3021981"/>
              <a:gd name="connsiteY3" fmla="*/ 2750848 h 2750848"/>
              <a:gd name="connsiteX4" fmla="*/ 0 w 3021981"/>
              <a:gd name="connsiteY4" fmla="*/ 1371600 h 2750848"/>
              <a:gd name="connsiteX0" fmla="*/ 0 w 3066586"/>
              <a:gd name="connsiteY0" fmla="*/ 1371600 h 2750848"/>
              <a:gd name="connsiteX1" fmla="*/ 3021981 w 3066586"/>
              <a:gd name="connsiteY1" fmla="*/ 0 h 2750848"/>
              <a:gd name="connsiteX2" fmla="*/ 3066586 w 3066586"/>
              <a:gd name="connsiteY2" fmla="*/ 2237892 h 2750848"/>
              <a:gd name="connsiteX3" fmla="*/ 0 w 3066586"/>
              <a:gd name="connsiteY3" fmla="*/ 2750848 h 2750848"/>
              <a:gd name="connsiteX4" fmla="*/ 0 w 3066586"/>
              <a:gd name="connsiteY4" fmla="*/ 1371600 h 2750848"/>
              <a:gd name="connsiteX0" fmla="*/ 0 w 3066586"/>
              <a:gd name="connsiteY0" fmla="*/ 1371600 h 4144751"/>
              <a:gd name="connsiteX1" fmla="*/ 3021981 w 3066586"/>
              <a:gd name="connsiteY1" fmla="*/ 0 h 4144751"/>
              <a:gd name="connsiteX2" fmla="*/ 3066586 w 3066586"/>
              <a:gd name="connsiteY2" fmla="*/ 2237892 h 4144751"/>
              <a:gd name="connsiteX3" fmla="*/ 546410 w 3066586"/>
              <a:gd name="connsiteY3" fmla="*/ 4144751 h 4144751"/>
              <a:gd name="connsiteX4" fmla="*/ 0 w 3066586"/>
              <a:gd name="connsiteY4" fmla="*/ 1371600 h 4144751"/>
              <a:gd name="connsiteX0" fmla="*/ 0 w 3066586"/>
              <a:gd name="connsiteY0" fmla="*/ 1371600 h 4144751"/>
              <a:gd name="connsiteX1" fmla="*/ 3021981 w 3066586"/>
              <a:gd name="connsiteY1" fmla="*/ 0 h 4144751"/>
              <a:gd name="connsiteX2" fmla="*/ 3066586 w 3066586"/>
              <a:gd name="connsiteY2" fmla="*/ 2237892 h 4144751"/>
              <a:gd name="connsiteX3" fmla="*/ 546410 w 3066586"/>
              <a:gd name="connsiteY3" fmla="*/ 4144751 h 4144751"/>
              <a:gd name="connsiteX4" fmla="*/ 0 w 3066586"/>
              <a:gd name="connsiteY4" fmla="*/ 1371600 h 4144751"/>
              <a:gd name="connsiteX0" fmla="*/ 0 w 3021981"/>
              <a:gd name="connsiteY0" fmla="*/ 1371600 h 4144751"/>
              <a:gd name="connsiteX1" fmla="*/ 3021981 w 3021981"/>
              <a:gd name="connsiteY1" fmla="*/ 0 h 4144751"/>
              <a:gd name="connsiteX2" fmla="*/ 2810108 w 3021981"/>
              <a:gd name="connsiteY2" fmla="*/ 2527823 h 4144751"/>
              <a:gd name="connsiteX3" fmla="*/ 546410 w 3021981"/>
              <a:gd name="connsiteY3" fmla="*/ 4144751 h 4144751"/>
              <a:gd name="connsiteX4" fmla="*/ 0 w 3021981"/>
              <a:gd name="connsiteY4" fmla="*/ 1371600 h 4144751"/>
              <a:gd name="connsiteX0" fmla="*/ 0 w 3021981"/>
              <a:gd name="connsiteY0" fmla="*/ 1371600 h 4144751"/>
              <a:gd name="connsiteX1" fmla="*/ 3021981 w 3021981"/>
              <a:gd name="connsiteY1" fmla="*/ 0 h 4144751"/>
              <a:gd name="connsiteX2" fmla="*/ 2810108 w 3021981"/>
              <a:gd name="connsiteY2" fmla="*/ 2527823 h 4144751"/>
              <a:gd name="connsiteX3" fmla="*/ 546410 w 3021981"/>
              <a:gd name="connsiteY3" fmla="*/ 4144751 h 4144751"/>
              <a:gd name="connsiteX4" fmla="*/ 0 w 3021981"/>
              <a:gd name="connsiteY4" fmla="*/ 1371600 h 4144751"/>
              <a:gd name="connsiteX0" fmla="*/ 0 w 3033132"/>
              <a:gd name="connsiteY0" fmla="*/ 1371600 h 4144751"/>
              <a:gd name="connsiteX1" fmla="*/ 3021981 w 3033132"/>
              <a:gd name="connsiteY1" fmla="*/ 0 h 4144751"/>
              <a:gd name="connsiteX2" fmla="*/ 3033132 w 3033132"/>
              <a:gd name="connsiteY2" fmla="*/ 2159833 h 4144751"/>
              <a:gd name="connsiteX3" fmla="*/ 546410 w 3033132"/>
              <a:gd name="connsiteY3" fmla="*/ 4144751 h 4144751"/>
              <a:gd name="connsiteX4" fmla="*/ 0 w 3033132"/>
              <a:gd name="connsiteY4" fmla="*/ 1371600 h 4144751"/>
              <a:gd name="connsiteX0" fmla="*/ 0 w 3033132"/>
              <a:gd name="connsiteY0" fmla="*/ 1371600 h 4144751"/>
              <a:gd name="connsiteX1" fmla="*/ 3021981 w 3033132"/>
              <a:gd name="connsiteY1" fmla="*/ 0 h 4144751"/>
              <a:gd name="connsiteX2" fmla="*/ 3033132 w 3033132"/>
              <a:gd name="connsiteY2" fmla="*/ 2159833 h 4144751"/>
              <a:gd name="connsiteX3" fmla="*/ 546410 w 3033132"/>
              <a:gd name="connsiteY3" fmla="*/ 4144751 h 4144751"/>
              <a:gd name="connsiteX4" fmla="*/ 0 w 3033132"/>
              <a:gd name="connsiteY4" fmla="*/ 1371600 h 4144751"/>
              <a:gd name="connsiteX0" fmla="*/ 0 w 3033132"/>
              <a:gd name="connsiteY0" fmla="*/ 1371600 h 4144751"/>
              <a:gd name="connsiteX1" fmla="*/ 3021981 w 3033132"/>
              <a:gd name="connsiteY1" fmla="*/ 0 h 4144751"/>
              <a:gd name="connsiteX2" fmla="*/ 3033132 w 3033132"/>
              <a:gd name="connsiteY2" fmla="*/ 2159833 h 4144751"/>
              <a:gd name="connsiteX3" fmla="*/ 546410 w 3033132"/>
              <a:gd name="connsiteY3" fmla="*/ 4144751 h 4144751"/>
              <a:gd name="connsiteX4" fmla="*/ 0 w 3033132"/>
              <a:gd name="connsiteY4" fmla="*/ 1371600 h 4144751"/>
              <a:gd name="connsiteX0" fmla="*/ 245326 w 2486722"/>
              <a:gd name="connsiteY0" fmla="*/ 1215483 h 4144751"/>
              <a:gd name="connsiteX1" fmla="*/ 2475571 w 2486722"/>
              <a:gd name="connsiteY1" fmla="*/ 0 h 4144751"/>
              <a:gd name="connsiteX2" fmla="*/ 2486722 w 2486722"/>
              <a:gd name="connsiteY2" fmla="*/ 2159833 h 4144751"/>
              <a:gd name="connsiteX3" fmla="*/ 0 w 2486722"/>
              <a:gd name="connsiteY3" fmla="*/ 4144751 h 4144751"/>
              <a:gd name="connsiteX4" fmla="*/ 245326 w 2486722"/>
              <a:gd name="connsiteY4" fmla="*/ 1215483 h 4144751"/>
              <a:gd name="connsiteX0" fmla="*/ 78058 w 2486722"/>
              <a:gd name="connsiteY0" fmla="*/ 2007219 h 4144751"/>
              <a:gd name="connsiteX1" fmla="*/ 2475571 w 2486722"/>
              <a:gd name="connsiteY1" fmla="*/ 0 h 4144751"/>
              <a:gd name="connsiteX2" fmla="*/ 2486722 w 2486722"/>
              <a:gd name="connsiteY2" fmla="*/ 2159833 h 4144751"/>
              <a:gd name="connsiteX3" fmla="*/ 0 w 2486722"/>
              <a:gd name="connsiteY3" fmla="*/ 4144751 h 4144751"/>
              <a:gd name="connsiteX4" fmla="*/ 78058 w 2486722"/>
              <a:gd name="connsiteY4" fmla="*/ 2007219 h 4144751"/>
              <a:gd name="connsiteX0" fmla="*/ 78058 w 2486722"/>
              <a:gd name="connsiteY0" fmla="*/ 2007219 h 4144751"/>
              <a:gd name="connsiteX1" fmla="*/ 270145 w 2486722"/>
              <a:gd name="connsiteY1" fmla="*/ 1629830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78058 w 2486722"/>
              <a:gd name="connsiteY5" fmla="*/ 2007219 h 4144751"/>
              <a:gd name="connsiteX0" fmla="*/ 78058 w 2486722"/>
              <a:gd name="connsiteY0" fmla="*/ 2007219 h 4144751"/>
              <a:gd name="connsiteX1" fmla="*/ 270145 w 2486722"/>
              <a:gd name="connsiteY1" fmla="*/ 1629830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78058 w 2486722"/>
              <a:gd name="connsiteY5" fmla="*/ 2007219 h 4144751"/>
              <a:gd name="connsiteX0" fmla="*/ 78058 w 2486722"/>
              <a:gd name="connsiteY0" fmla="*/ 2007219 h 4144751"/>
              <a:gd name="connsiteX1" fmla="*/ 270145 w 2486722"/>
              <a:gd name="connsiteY1" fmla="*/ 1629830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78058 w 2486722"/>
              <a:gd name="connsiteY5" fmla="*/ 2007219 h 4144751"/>
              <a:gd name="connsiteX0" fmla="*/ 33453 w 2486722"/>
              <a:gd name="connsiteY0" fmla="*/ 2040673 h 4144751"/>
              <a:gd name="connsiteX1" fmla="*/ 270145 w 2486722"/>
              <a:gd name="connsiteY1" fmla="*/ 1629830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33453 w 2486722"/>
              <a:gd name="connsiteY5" fmla="*/ 2040673 h 4144751"/>
              <a:gd name="connsiteX0" fmla="*/ 33453 w 2486722"/>
              <a:gd name="connsiteY0" fmla="*/ 2040673 h 4144751"/>
              <a:gd name="connsiteX1" fmla="*/ 270145 w 2486722"/>
              <a:gd name="connsiteY1" fmla="*/ 1629830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33453 w 2486722"/>
              <a:gd name="connsiteY5" fmla="*/ 2040673 h 4144751"/>
              <a:gd name="connsiteX0" fmla="*/ 33453 w 2486722"/>
              <a:gd name="connsiteY0" fmla="*/ 2040673 h 4144751"/>
              <a:gd name="connsiteX1" fmla="*/ 270145 w 2486722"/>
              <a:gd name="connsiteY1" fmla="*/ 1629830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33453 w 2486722"/>
              <a:gd name="connsiteY5" fmla="*/ 2040673 h 4144751"/>
              <a:gd name="connsiteX0" fmla="*/ 22301 w 2486722"/>
              <a:gd name="connsiteY0" fmla="*/ 2185639 h 4144751"/>
              <a:gd name="connsiteX1" fmla="*/ 270145 w 2486722"/>
              <a:gd name="connsiteY1" fmla="*/ 1629830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22301 w 2486722"/>
              <a:gd name="connsiteY5" fmla="*/ 2185639 h 4144751"/>
              <a:gd name="connsiteX0" fmla="*/ 22301 w 2486722"/>
              <a:gd name="connsiteY0" fmla="*/ 2185639 h 4144751"/>
              <a:gd name="connsiteX1" fmla="*/ 426262 w 2486722"/>
              <a:gd name="connsiteY1" fmla="*/ 1484865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22301 w 2486722"/>
              <a:gd name="connsiteY5" fmla="*/ 2185639 h 4144751"/>
              <a:gd name="connsiteX0" fmla="*/ 22301 w 2486722"/>
              <a:gd name="connsiteY0" fmla="*/ 2185639 h 4144751"/>
              <a:gd name="connsiteX1" fmla="*/ 426262 w 2486722"/>
              <a:gd name="connsiteY1" fmla="*/ 1484865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22301 w 2486722"/>
              <a:gd name="connsiteY5" fmla="*/ 2185639 h 4144751"/>
              <a:gd name="connsiteX0" fmla="*/ 44603 w 2486722"/>
              <a:gd name="connsiteY0" fmla="*/ 2196791 h 4144751"/>
              <a:gd name="connsiteX1" fmla="*/ 426262 w 2486722"/>
              <a:gd name="connsiteY1" fmla="*/ 1484865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44603 w 2486722"/>
              <a:gd name="connsiteY5" fmla="*/ 2196791 h 4144751"/>
              <a:gd name="connsiteX0" fmla="*/ 66905 w 2486722"/>
              <a:gd name="connsiteY0" fmla="*/ 2274850 h 4144751"/>
              <a:gd name="connsiteX1" fmla="*/ 426262 w 2486722"/>
              <a:gd name="connsiteY1" fmla="*/ 1484865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66905 w 2486722"/>
              <a:gd name="connsiteY5" fmla="*/ 2274850 h 4144751"/>
              <a:gd name="connsiteX0" fmla="*/ 66905 w 2486722"/>
              <a:gd name="connsiteY0" fmla="*/ 2274850 h 4144751"/>
              <a:gd name="connsiteX1" fmla="*/ 426262 w 2486722"/>
              <a:gd name="connsiteY1" fmla="*/ 1484865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66905 w 2486722"/>
              <a:gd name="connsiteY5" fmla="*/ 2274850 h 4144751"/>
              <a:gd name="connsiteX0" fmla="*/ 66905 w 2486722"/>
              <a:gd name="connsiteY0" fmla="*/ 2274850 h 4144751"/>
              <a:gd name="connsiteX1" fmla="*/ 426262 w 2486722"/>
              <a:gd name="connsiteY1" fmla="*/ 1484865 h 4144751"/>
              <a:gd name="connsiteX2" fmla="*/ 2475571 w 2486722"/>
              <a:gd name="connsiteY2" fmla="*/ 0 h 4144751"/>
              <a:gd name="connsiteX3" fmla="*/ 2486722 w 2486722"/>
              <a:gd name="connsiteY3" fmla="*/ 2159833 h 4144751"/>
              <a:gd name="connsiteX4" fmla="*/ 0 w 2486722"/>
              <a:gd name="connsiteY4" fmla="*/ 4144751 h 4144751"/>
              <a:gd name="connsiteX5" fmla="*/ 66905 w 2486722"/>
              <a:gd name="connsiteY5" fmla="*/ 2274850 h 4144751"/>
              <a:gd name="connsiteX0" fmla="*/ 78056 w 2497873"/>
              <a:gd name="connsiteY0" fmla="*/ 2274850 h 4222810"/>
              <a:gd name="connsiteX1" fmla="*/ 437413 w 2497873"/>
              <a:gd name="connsiteY1" fmla="*/ 1484865 h 4222810"/>
              <a:gd name="connsiteX2" fmla="*/ 2486722 w 2497873"/>
              <a:gd name="connsiteY2" fmla="*/ 0 h 4222810"/>
              <a:gd name="connsiteX3" fmla="*/ 2497873 w 2497873"/>
              <a:gd name="connsiteY3" fmla="*/ 2159833 h 4222810"/>
              <a:gd name="connsiteX4" fmla="*/ 0 w 2497873"/>
              <a:gd name="connsiteY4" fmla="*/ 4222810 h 4222810"/>
              <a:gd name="connsiteX5" fmla="*/ 78056 w 2497873"/>
              <a:gd name="connsiteY5" fmla="*/ 2274850 h 4222810"/>
              <a:gd name="connsiteX0" fmla="*/ 78056 w 2497873"/>
              <a:gd name="connsiteY0" fmla="*/ 2274850 h 4222810"/>
              <a:gd name="connsiteX1" fmla="*/ 437413 w 2497873"/>
              <a:gd name="connsiteY1" fmla="*/ 1484865 h 4222810"/>
              <a:gd name="connsiteX2" fmla="*/ 2486722 w 2497873"/>
              <a:gd name="connsiteY2" fmla="*/ 0 h 4222810"/>
              <a:gd name="connsiteX3" fmla="*/ 2497873 w 2497873"/>
              <a:gd name="connsiteY3" fmla="*/ 2159833 h 4222810"/>
              <a:gd name="connsiteX4" fmla="*/ 0 w 2497873"/>
              <a:gd name="connsiteY4" fmla="*/ 4222810 h 4222810"/>
              <a:gd name="connsiteX5" fmla="*/ 78056 w 2497873"/>
              <a:gd name="connsiteY5" fmla="*/ 2274850 h 4222810"/>
              <a:gd name="connsiteX0" fmla="*/ 78056 w 2497873"/>
              <a:gd name="connsiteY0" fmla="*/ 2274850 h 4222810"/>
              <a:gd name="connsiteX1" fmla="*/ 437413 w 2497873"/>
              <a:gd name="connsiteY1" fmla="*/ 1484865 h 4222810"/>
              <a:gd name="connsiteX2" fmla="*/ 2486722 w 2497873"/>
              <a:gd name="connsiteY2" fmla="*/ 0 h 4222810"/>
              <a:gd name="connsiteX3" fmla="*/ 2497873 w 2497873"/>
              <a:gd name="connsiteY3" fmla="*/ 2159833 h 4222810"/>
              <a:gd name="connsiteX4" fmla="*/ 0 w 2497873"/>
              <a:gd name="connsiteY4" fmla="*/ 4222810 h 4222810"/>
              <a:gd name="connsiteX5" fmla="*/ 78056 w 2497873"/>
              <a:gd name="connsiteY5" fmla="*/ 2274850 h 4222810"/>
              <a:gd name="connsiteX0" fmla="*/ 78056 w 2509024"/>
              <a:gd name="connsiteY0" fmla="*/ 2341758 h 4289718"/>
              <a:gd name="connsiteX1" fmla="*/ 437413 w 2509024"/>
              <a:gd name="connsiteY1" fmla="*/ 1551773 h 4289718"/>
              <a:gd name="connsiteX2" fmla="*/ 2509024 w 2509024"/>
              <a:gd name="connsiteY2" fmla="*/ 0 h 4289718"/>
              <a:gd name="connsiteX3" fmla="*/ 2497873 w 2509024"/>
              <a:gd name="connsiteY3" fmla="*/ 2226741 h 4289718"/>
              <a:gd name="connsiteX4" fmla="*/ 0 w 2509024"/>
              <a:gd name="connsiteY4" fmla="*/ 4289718 h 4289718"/>
              <a:gd name="connsiteX5" fmla="*/ 78056 w 2509024"/>
              <a:gd name="connsiteY5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551773 h 4289718"/>
              <a:gd name="connsiteX2" fmla="*/ 2509024 w 2509024"/>
              <a:gd name="connsiteY2" fmla="*/ 0 h 4289718"/>
              <a:gd name="connsiteX3" fmla="*/ 2497873 w 2509024"/>
              <a:gd name="connsiteY3" fmla="*/ 2226741 h 4289718"/>
              <a:gd name="connsiteX4" fmla="*/ 0 w 2509024"/>
              <a:gd name="connsiteY4" fmla="*/ 4289718 h 4289718"/>
              <a:gd name="connsiteX5" fmla="*/ 78056 w 2509024"/>
              <a:gd name="connsiteY5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551773 h 4289718"/>
              <a:gd name="connsiteX2" fmla="*/ 2509024 w 2509024"/>
              <a:gd name="connsiteY2" fmla="*/ 0 h 4289718"/>
              <a:gd name="connsiteX3" fmla="*/ 2497873 w 2509024"/>
              <a:gd name="connsiteY3" fmla="*/ 2226741 h 4289718"/>
              <a:gd name="connsiteX4" fmla="*/ 0 w 2509024"/>
              <a:gd name="connsiteY4" fmla="*/ 4289718 h 4289718"/>
              <a:gd name="connsiteX5" fmla="*/ 78056 w 2509024"/>
              <a:gd name="connsiteY5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551773 h 4289718"/>
              <a:gd name="connsiteX2" fmla="*/ 2509024 w 2509024"/>
              <a:gd name="connsiteY2" fmla="*/ 0 h 4289718"/>
              <a:gd name="connsiteX3" fmla="*/ 2497873 w 2509024"/>
              <a:gd name="connsiteY3" fmla="*/ 2226741 h 4289718"/>
              <a:gd name="connsiteX4" fmla="*/ 0 w 2509024"/>
              <a:gd name="connsiteY4" fmla="*/ 4289718 h 4289718"/>
              <a:gd name="connsiteX5" fmla="*/ 78056 w 2509024"/>
              <a:gd name="connsiteY5" fmla="*/ 2341758 h 4289718"/>
              <a:gd name="connsiteX0" fmla="*/ 78056 w 2509024"/>
              <a:gd name="connsiteY0" fmla="*/ 2342240 h 4290200"/>
              <a:gd name="connsiteX1" fmla="*/ 437413 w 2509024"/>
              <a:gd name="connsiteY1" fmla="*/ 1552255 h 4290200"/>
              <a:gd name="connsiteX2" fmla="*/ 2509024 w 2509024"/>
              <a:gd name="connsiteY2" fmla="*/ 482 h 4290200"/>
              <a:gd name="connsiteX3" fmla="*/ 2497873 w 2509024"/>
              <a:gd name="connsiteY3" fmla="*/ 2227223 h 4290200"/>
              <a:gd name="connsiteX4" fmla="*/ 0 w 2509024"/>
              <a:gd name="connsiteY4" fmla="*/ 4290200 h 4290200"/>
              <a:gd name="connsiteX5" fmla="*/ 78056 w 2509024"/>
              <a:gd name="connsiteY5" fmla="*/ 2342240 h 4290200"/>
              <a:gd name="connsiteX0" fmla="*/ 78056 w 2509024"/>
              <a:gd name="connsiteY0" fmla="*/ 2341758 h 4289718"/>
              <a:gd name="connsiteX1" fmla="*/ 437413 w 2509024"/>
              <a:gd name="connsiteY1" fmla="*/ 1551773 h 4289718"/>
              <a:gd name="connsiteX2" fmla="*/ 2509024 w 2509024"/>
              <a:gd name="connsiteY2" fmla="*/ 0 h 4289718"/>
              <a:gd name="connsiteX3" fmla="*/ 2497873 w 2509024"/>
              <a:gd name="connsiteY3" fmla="*/ 2226741 h 4289718"/>
              <a:gd name="connsiteX4" fmla="*/ 0 w 2509024"/>
              <a:gd name="connsiteY4" fmla="*/ 4289718 h 4289718"/>
              <a:gd name="connsiteX5" fmla="*/ 78056 w 2509024"/>
              <a:gd name="connsiteY5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551773 h 4289718"/>
              <a:gd name="connsiteX2" fmla="*/ 2509024 w 2509024"/>
              <a:gd name="connsiteY2" fmla="*/ 0 h 4289718"/>
              <a:gd name="connsiteX3" fmla="*/ 2497873 w 2509024"/>
              <a:gd name="connsiteY3" fmla="*/ 2226741 h 4289718"/>
              <a:gd name="connsiteX4" fmla="*/ 0 w 2509024"/>
              <a:gd name="connsiteY4" fmla="*/ 4289718 h 4289718"/>
              <a:gd name="connsiteX5" fmla="*/ 78056 w 2509024"/>
              <a:gd name="connsiteY5" fmla="*/ 2341758 h 4289718"/>
              <a:gd name="connsiteX0" fmla="*/ 78056 w 2534878"/>
              <a:gd name="connsiteY0" fmla="*/ 2485982 h 4433942"/>
              <a:gd name="connsiteX1" fmla="*/ 437413 w 2534878"/>
              <a:gd name="connsiteY1" fmla="*/ 1695997 h 4433942"/>
              <a:gd name="connsiteX2" fmla="*/ 2323563 w 2534878"/>
              <a:gd name="connsiteY2" fmla="*/ 380735 h 4433942"/>
              <a:gd name="connsiteX3" fmla="*/ 2509024 w 2534878"/>
              <a:gd name="connsiteY3" fmla="*/ 144224 h 4433942"/>
              <a:gd name="connsiteX4" fmla="*/ 2497873 w 2534878"/>
              <a:gd name="connsiteY4" fmla="*/ 2370965 h 4433942"/>
              <a:gd name="connsiteX5" fmla="*/ 0 w 2534878"/>
              <a:gd name="connsiteY5" fmla="*/ 4433942 h 4433942"/>
              <a:gd name="connsiteX6" fmla="*/ 78056 w 2534878"/>
              <a:gd name="connsiteY6" fmla="*/ 2485982 h 4433942"/>
              <a:gd name="connsiteX0" fmla="*/ 78056 w 2534878"/>
              <a:gd name="connsiteY0" fmla="*/ 2485982 h 4433942"/>
              <a:gd name="connsiteX1" fmla="*/ 437413 w 2534878"/>
              <a:gd name="connsiteY1" fmla="*/ 1695997 h 4433942"/>
              <a:gd name="connsiteX2" fmla="*/ 2323563 w 2534878"/>
              <a:gd name="connsiteY2" fmla="*/ 380735 h 4433942"/>
              <a:gd name="connsiteX3" fmla="*/ 2509024 w 2534878"/>
              <a:gd name="connsiteY3" fmla="*/ 144224 h 4433942"/>
              <a:gd name="connsiteX4" fmla="*/ 2497873 w 2534878"/>
              <a:gd name="connsiteY4" fmla="*/ 2370965 h 4433942"/>
              <a:gd name="connsiteX5" fmla="*/ 0 w 2534878"/>
              <a:gd name="connsiteY5" fmla="*/ 4433942 h 4433942"/>
              <a:gd name="connsiteX6" fmla="*/ 78056 w 2534878"/>
              <a:gd name="connsiteY6" fmla="*/ 2485982 h 4433942"/>
              <a:gd name="connsiteX0" fmla="*/ 78056 w 2534878"/>
              <a:gd name="connsiteY0" fmla="*/ 2485982 h 4433942"/>
              <a:gd name="connsiteX1" fmla="*/ 437413 w 2534878"/>
              <a:gd name="connsiteY1" fmla="*/ 1751753 h 4433942"/>
              <a:gd name="connsiteX2" fmla="*/ 2323563 w 2534878"/>
              <a:gd name="connsiteY2" fmla="*/ 380735 h 4433942"/>
              <a:gd name="connsiteX3" fmla="*/ 2509024 w 2534878"/>
              <a:gd name="connsiteY3" fmla="*/ 144224 h 4433942"/>
              <a:gd name="connsiteX4" fmla="*/ 2497873 w 2534878"/>
              <a:gd name="connsiteY4" fmla="*/ 2370965 h 4433942"/>
              <a:gd name="connsiteX5" fmla="*/ 0 w 2534878"/>
              <a:gd name="connsiteY5" fmla="*/ 4433942 h 4433942"/>
              <a:gd name="connsiteX6" fmla="*/ 78056 w 2534878"/>
              <a:gd name="connsiteY6" fmla="*/ 2485982 h 4433942"/>
              <a:gd name="connsiteX0" fmla="*/ 78056 w 2534878"/>
              <a:gd name="connsiteY0" fmla="*/ 2485982 h 4433942"/>
              <a:gd name="connsiteX1" fmla="*/ 437413 w 2534878"/>
              <a:gd name="connsiteY1" fmla="*/ 1751753 h 4433942"/>
              <a:gd name="connsiteX2" fmla="*/ 2323563 w 2534878"/>
              <a:gd name="connsiteY2" fmla="*/ 380735 h 4433942"/>
              <a:gd name="connsiteX3" fmla="*/ 2509024 w 2534878"/>
              <a:gd name="connsiteY3" fmla="*/ 144224 h 4433942"/>
              <a:gd name="connsiteX4" fmla="*/ 2497873 w 2534878"/>
              <a:gd name="connsiteY4" fmla="*/ 2370965 h 4433942"/>
              <a:gd name="connsiteX5" fmla="*/ 0 w 2534878"/>
              <a:gd name="connsiteY5" fmla="*/ 4433942 h 4433942"/>
              <a:gd name="connsiteX6" fmla="*/ 78056 w 2534878"/>
              <a:gd name="connsiteY6" fmla="*/ 2485982 h 4433942"/>
              <a:gd name="connsiteX0" fmla="*/ 78056 w 2534878"/>
              <a:gd name="connsiteY0" fmla="*/ 2485982 h 4433942"/>
              <a:gd name="connsiteX1" fmla="*/ 437413 w 2534878"/>
              <a:gd name="connsiteY1" fmla="*/ 1751753 h 4433942"/>
              <a:gd name="connsiteX2" fmla="*/ 2323563 w 2534878"/>
              <a:gd name="connsiteY2" fmla="*/ 380735 h 4433942"/>
              <a:gd name="connsiteX3" fmla="*/ 2509024 w 2534878"/>
              <a:gd name="connsiteY3" fmla="*/ 144224 h 4433942"/>
              <a:gd name="connsiteX4" fmla="*/ 2497873 w 2534878"/>
              <a:gd name="connsiteY4" fmla="*/ 2370965 h 4433942"/>
              <a:gd name="connsiteX5" fmla="*/ 0 w 2534878"/>
              <a:gd name="connsiteY5" fmla="*/ 4433942 h 4433942"/>
              <a:gd name="connsiteX6" fmla="*/ 78056 w 2534878"/>
              <a:gd name="connsiteY6" fmla="*/ 2485982 h 4433942"/>
              <a:gd name="connsiteX0" fmla="*/ 78056 w 2534878"/>
              <a:gd name="connsiteY0" fmla="*/ 2485982 h 4433942"/>
              <a:gd name="connsiteX1" fmla="*/ 437413 w 2534878"/>
              <a:gd name="connsiteY1" fmla="*/ 1751753 h 4433942"/>
              <a:gd name="connsiteX2" fmla="*/ 2323563 w 2534878"/>
              <a:gd name="connsiteY2" fmla="*/ 380735 h 4433942"/>
              <a:gd name="connsiteX3" fmla="*/ 2509024 w 2534878"/>
              <a:gd name="connsiteY3" fmla="*/ 144224 h 4433942"/>
              <a:gd name="connsiteX4" fmla="*/ 2497873 w 2534878"/>
              <a:gd name="connsiteY4" fmla="*/ 2370965 h 4433942"/>
              <a:gd name="connsiteX5" fmla="*/ 0 w 2534878"/>
              <a:gd name="connsiteY5" fmla="*/ 4433942 h 4433942"/>
              <a:gd name="connsiteX6" fmla="*/ 78056 w 2534878"/>
              <a:gd name="connsiteY6" fmla="*/ 2485982 h 4433942"/>
              <a:gd name="connsiteX0" fmla="*/ 78056 w 2534878"/>
              <a:gd name="connsiteY0" fmla="*/ 2485982 h 4433942"/>
              <a:gd name="connsiteX1" fmla="*/ 437413 w 2534878"/>
              <a:gd name="connsiteY1" fmla="*/ 1751753 h 4433942"/>
              <a:gd name="connsiteX2" fmla="*/ 2323563 w 2534878"/>
              <a:gd name="connsiteY2" fmla="*/ 380735 h 4433942"/>
              <a:gd name="connsiteX3" fmla="*/ 2509024 w 2534878"/>
              <a:gd name="connsiteY3" fmla="*/ 144224 h 4433942"/>
              <a:gd name="connsiteX4" fmla="*/ 2497873 w 2534878"/>
              <a:gd name="connsiteY4" fmla="*/ 2370965 h 4433942"/>
              <a:gd name="connsiteX5" fmla="*/ 0 w 2534878"/>
              <a:gd name="connsiteY5" fmla="*/ 4433942 h 4433942"/>
              <a:gd name="connsiteX6" fmla="*/ 78056 w 2534878"/>
              <a:gd name="connsiteY6" fmla="*/ 2485982 h 4433942"/>
              <a:gd name="connsiteX0" fmla="*/ 78056 w 2509024"/>
              <a:gd name="connsiteY0" fmla="*/ 2679522 h 4627482"/>
              <a:gd name="connsiteX1" fmla="*/ 437413 w 2509024"/>
              <a:gd name="connsiteY1" fmla="*/ 1945293 h 4627482"/>
              <a:gd name="connsiteX2" fmla="*/ 2323563 w 2509024"/>
              <a:gd name="connsiteY2" fmla="*/ 574275 h 4627482"/>
              <a:gd name="connsiteX3" fmla="*/ 2509024 w 2509024"/>
              <a:gd name="connsiteY3" fmla="*/ 337764 h 4627482"/>
              <a:gd name="connsiteX4" fmla="*/ 2497873 w 2509024"/>
              <a:gd name="connsiteY4" fmla="*/ 2564505 h 4627482"/>
              <a:gd name="connsiteX5" fmla="*/ 0 w 2509024"/>
              <a:gd name="connsiteY5" fmla="*/ 4627482 h 4627482"/>
              <a:gd name="connsiteX6" fmla="*/ 78056 w 2509024"/>
              <a:gd name="connsiteY6" fmla="*/ 2679522 h 4627482"/>
              <a:gd name="connsiteX0" fmla="*/ 78056 w 2509024"/>
              <a:gd name="connsiteY0" fmla="*/ 2601288 h 4549248"/>
              <a:gd name="connsiteX1" fmla="*/ 437413 w 2509024"/>
              <a:gd name="connsiteY1" fmla="*/ 1867059 h 4549248"/>
              <a:gd name="connsiteX2" fmla="*/ 2323563 w 2509024"/>
              <a:gd name="connsiteY2" fmla="*/ 496041 h 4549248"/>
              <a:gd name="connsiteX3" fmla="*/ 2509024 w 2509024"/>
              <a:gd name="connsiteY3" fmla="*/ 259530 h 4549248"/>
              <a:gd name="connsiteX4" fmla="*/ 2497873 w 2509024"/>
              <a:gd name="connsiteY4" fmla="*/ 2486271 h 4549248"/>
              <a:gd name="connsiteX5" fmla="*/ 0 w 2509024"/>
              <a:gd name="connsiteY5" fmla="*/ 4549248 h 4549248"/>
              <a:gd name="connsiteX6" fmla="*/ 78056 w 2509024"/>
              <a:gd name="connsiteY6" fmla="*/ 2601288 h 4549248"/>
              <a:gd name="connsiteX0" fmla="*/ 78056 w 2509024"/>
              <a:gd name="connsiteY0" fmla="*/ 2341758 h 4289718"/>
              <a:gd name="connsiteX1" fmla="*/ 437413 w 2509024"/>
              <a:gd name="connsiteY1" fmla="*/ 1607529 h 4289718"/>
              <a:gd name="connsiteX2" fmla="*/ 2323563 w 2509024"/>
              <a:gd name="connsiteY2" fmla="*/ 236511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607529 h 4289718"/>
              <a:gd name="connsiteX2" fmla="*/ 2323563 w 2509024"/>
              <a:gd name="connsiteY2" fmla="*/ 236511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580635 h 4289718"/>
              <a:gd name="connsiteX2" fmla="*/ 2323563 w 2509024"/>
              <a:gd name="connsiteY2" fmla="*/ 236511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580635 h 4289718"/>
              <a:gd name="connsiteX2" fmla="*/ 2323563 w 2509024"/>
              <a:gd name="connsiteY2" fmla="*/ 236511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580635 h 4289718"/>
              <a:gd name="connsiteX2" fmla="*/ 2323563 w 2509024"/>
              <a:gd name="connsiteY2" fmla="*/ 236511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580635 h 4289718"/>
              <a:gd name="connsiteX2" fmla="*/ 2323563 w 2509024"/>
              <a:gd name="connsiteY2" fmla="*/ 236511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580635 h 4289718"/>
              <a:gd name="connsiteX2" fmla="*/ 2323563 w 2509024"/>
              <a:gd name="connsiteY2" fmla="*/ 236511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580635 h 4289718"/>
              <a:gd name="connsiteX2" fmla="*/ 2337010 w 2509024"/>
              <a:gd name="connsiteY2" fmla="*/ 317193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37413 w 2509024"/>
              <a:gd name="connsiteY1" fmla="*/ 1580635 h 4289718"/>
              <a:gd name="connsiteX2" fmla="*/ 2337010 w 2509024"/>
              <a:gd name="connsiteY2" fmla="*/ 317193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03796 w 2509024"/>
              <a:gd name="connsiteY1" fmla="*/ 1573912 h 4289718"/>
              <a:gd name="connsiteX2" fmla="*/ 2337010 w 2509024"/>
              <a:gd name="connsiteY2" fmla="*/ 317193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03796 w 2509024"/>
              <a:gd name="connsiteY1" fmla="*/ 1573912 h 4289718"/>
              <a:gd name="connsiteX2" fmla="*/ 2337010 w 2509024"/>
              <a:gd name="connsiteY2" fmla="*/ 317193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71031 w 2509024"/>
              <a:gd name="connsiteY1" fmla="*/ 1560465 h 4289718"/>
              <a:gd name="connsiteX2" fmla="*/ 2337010 w 2509024"/>
              <a:gd name="connsiteY2" fmla="*/ 317193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509024"/>
              <a:gd name="connsiteY0" fmla="*/ 2341758 h 4289718"/>
              <a:gd name="connsiteX1" fmla="*/ 471031 w 2509024"/>
              <a:gd name="connsiteY1" fmla="*/ 1560465 h 4289718"/>
              <a:gd name="connsiteX2" fmla="*/ 2303392 w 2509024"/>
              <a:gd name="connsiteY2" fmla="*/ 330640 h 4289718"/>
              <a:gd name="connsiteX3" fmla="*/ 2509024 w 2509024"/>
              <a:gd name="connsiteY3" fmla="*/ 0 h 4289718"/>
              <a:gd name="connsiteX4" fmla="*/ 2497873 w 2509024"/>
              <a:gd name="connsiteY4" fmla="*/ 2226741 h 4289718"/>
              <a:gd name="connsiteX5" fmla="*/ 0 w 2509024"/>
              <a:gd name="connsiteY5" fmla="*/ 4289718 h 4289718"/>
              <a:gd name="connsiteX6" fmla="*/ 78056 w 2509024"/>
              <a:gd name="connsiteY6" fmla="*/ 2341758 h 4289718"/>
              <a:gd name="connsiteX0" fmla="*/ 78056 w 2497873"/>
              <a:gd name="connsiteY0" fmla="*/ 2368652 h 4316612"/>
              <a:gd name="connsiteX1" fmla="*/ 471031 w 2497873"/>
              <a:gd name="connsiteY1" fmla="*/ 1587359 h 4316612"/>
              <a:gd name="connsiteX2" fmla="*/ 2303392 w 2497873"/>
              <a:gd name="connsiteY2" fmla="*/ 357534 h 4316612"/>
              <a:gd name="connsiteX3" fmla="*/ 2488854 w 2497873"/>
              <a:gd name="connsiteY3" fmla="*/ 0 h 4316612"/>
              <a:gd name="connsiteX4" fmla="*/ 2497873 w 2497873"/>
              <a:gd name="connsiteY4" fmla="*/ 2253635 h 4316612"/>
              <a:gd name="connsiteX5" fmla="*/ 0 w 2497873"/>
              <a:gd name="connsiteY5" fmla="*/ 4316612 h 4316612"/>
              <a:gd name="connsiteX6" fmla="*/ 78056 w 2497873"/>
              <a:gd name="connsiteY6" fmla="*/ 2368652 h 4316612"/>
              <a:gd name="connsiteX0" fmla="*/ 78056 w 2497873"/>
              <a:gd name="connsiteY0" fmla="*/ 2375375 h 4323335"/>
              <a:gd name="connsiteX1" fmla="*/ 471031 w 2497873"/>
              <a:gd name="connsiteY1" fmla="*/ 1594082 h 4323335"/>
              <a:gd name="connsiteX2" fmla="*/ 2303392 w 2497873"/>
              <a:gd name="connsiteY2" fmla="*/ 364257 h 4323335"/>
              <a:gd name="connsiteX3" fmla="*/ 2488854 w 2497873"/>
              <a:gd name="connsiteY3" fmla="*/ 0 h 4323335"/>
              <a:gd name="connsiteX4" fmla="*/ 2497873 w 2497873"/>
              <a:gd name="connsiteY4" fmla="*/ 2260358 h 4323335"/>
              <a:gd name="connsiteX5" fmla="*/ 0 w 2497873"/>
              <a:gd name="connsiteY5" fmla="*/ 4323335 h 4323335"/>
              <a:gd name="connsiteX6" fmla="*/ 78056 w 2497873"/>
              <a:gd name="connsiteY6" fmla="*/ 2375375 h 4323335"/>
              <a:gd name="connsiteX0" fmla="*/ 78056 w 2518043"/>
              <a:gd name="connsiteY0" fmla="*/ 2375375 h 4323335"/>
              <a:gd name="connsiteX1" fmla="*/ 471031 w 2518043"/>
              <a:gd name="connsiteY1" fmla="*/ 1594082 h 4323335"/>
              <a:gd name="connsiteX2" fmla="*/ 2303392 w 2518043"/>
              <a:gd name="connsiteY2" fmla="*/ 364257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75375 h 4323335"/>
              <a:gd name="connsiteX1" fmla="*/ 471031 w 2518043"/>
              <a:gd name="connsiteY1" fmla="*/ 1594082 h 4323335"/>
              <a:gd name="connsiteX2" fmla="*/ 2303392 w 2518043"/>
              <a:gd name="connsiteY2" fmla="*/ 364257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75375 h 4323335"/>
              <a:gd name="connsiteX1" fmla="*/ 471031 w 2518043"/>
              <a:gd name="connsiteY1" fmla="*/ 1594082 h 4323335"/>
              <a:gd name="connsiteX2" fmla="*/ 2303392 w 2518043"/>
              <a:gd name="connsiteY2" fmla="*/ 364257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75375 h 4323335"/>
              <a:gd name="connsiteX1" fmla="*/ 471031 w 2518043"/>
              <a:gd name="connsiteY1" fmla="*/ 1594082 h 4323335"/>
              <a:gd name="connsiteX2" fmla="*/ 1455245 w 2518043"/>
              <a:gd name="connsiteY2" fmla="*/ 1089579 h 4323335"/>
              <a:gd name="connsiteX3" fmla="*/ 2303392 w 2518043"/>
              <a:gd name="connsiteY3" fmla="*/ 364257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471031 w 2518043"/>
              <a:gd name="connsiteY1" fmla="*/ 1594082 h 4323335"/>
              <a:gd name="connsiteX2" fmla="*/ 1455245 w 2518043"/>
              <a:gd name="connsiteY2" fmla="*/ 1089579 h 4323335"/>
              <a:gd name="connsiteX3" fmla="*/ 2303392 w 2518043"/>
              <a:gd name="connsiteY3" fmla="*/ 364257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471031 w 2518043"/>
              <a:gd name="connsiteY1" fmla="*/ 1594082 h 4323335"/>
              <a:gd name="connsiteX2" fmla="*/ 1435075 w 2518043"/>
              <a:gd name="connsiteY2" fmla="*/ 1049238 h 4323335"/>
              <a:gd name="connsiteX3" fmla="*/ 2303392 w 2518043"/>
              <a:gd name="connsiteY3" fmla="*/ 364257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471031 w 2518043"/>
              <a:gd name="connsiteY1" fmla="*/ 1594082 h 4323335"/>
              <a:gd name="connsiteX2" fmla="*/ 1435075 w 2518043"/>
              <a:gd name="connsiteY2" fmla="*/ 1049238 h 4323335"/>
              <a:gd name="connsiteX3" fmla="*/ 2303392 w 2518043"/>
              <a:gd name="connsiteY3" fmla="*/ 364257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316390 w 2518043"/>
              <a:gd name="connsiteY1" fmla="*/ 1688211 h 4323335"/>
              <a:gd name="connsiteX2" fmla="*/ 1435075 w 2518043"/>
              <a:gd name="connsiteY2" fmla="*/ 1049238 h 4323335"/>
              <a:gd name="connsiteX3" fmla="*/ 2303392 w 2518043"/>
              <a:gd name="connsiteY3" fmla="*/ 364257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316390 w 2518043"/>
              <a:gd name="connsiteY1" fmla="*/ 1688211 h 4323335"/>
              <a:gd name="connsiteX2" fmla="*/ 1435075 w 2518043"/>
              <a:gd name="connsiteY2" fmla="*/ 1049238 h 4323335"/>
              <a:gd name="connsiteX3" fmla="*/ 2303392 w 2518043"/>
              <a:gd name="connsiteY3" fmla="*/ 364257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316390 w 2518043"/>
              <a:gd name="connsiteY1" fmla="*/ 1688211 h 4323335"/>
              <a:gd name="connsiteX2" fmla="*/ 1435075 w 2518043"/>
              <a:gd name="connsiteY2" fmla="*/ 1049238 h 4323335"/>
              <a:gd name="connsiteX3" fmla="*/ 2303392 w 2518043"/>
              <a:gd name="connsiteY3" fmla="*/ 364257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316390 w 2518043"/>
              <a:gd name="connsiteY1" fmla="*/ 1688211 h 4323335"/>
              <a:gd name="connsiteX2" fmla="*/ 1435075 w 2518043"/>
              <a:gd name="connsiteY2" fmla="*/ 1049238 h 4323335"/>
              <a:gd name="connsiteX3" fmla="*/ 2303392 w 2518043"/>
              <a:gd name="connsiteY3" fmla="*/ 364257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316390 w 2518043"/>
              <a:gd name="connsiteY1" fmla="*/ 1688211 h 4323335"/>
              <a:gd name="connsiteX2" fmla="*/ 1435075 w 2518043"/>
              <a:gd name="connsiteY2" fmla="*/ 1049238 h 4323335"/>
              <a:gd name="connsiteX3" fmla="*/ 2303392 w 2518043"/>
              <a:gd name="connsiteY3" fmla="*/ 364257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316390 w 2518043"/>
              <a:gd name="connsiteY1" fmla="*/ 1688211 h 4323335"/>
              <a:gd name="connsiteX2" fmla="*/ 1435075 w 2518043"/>
              <a:gd name="connsiteY2" fmla="*/ 1049238 h 4323335"/>
              <a:gd name="connsiteX3" fmla="*/ 2363904 w 2518043"/>
              <a:gd name="connsiteY3" fmla="*/ 391151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323113 w 2518043"/>
              <a:gd name="connsiteY1" fmla="*/ 1708382 h 4323335"/>
              <a:gd name="connsiteX2" fmla="*/ 1435075 w 2518043"/>
              <a:gd name="connsiteY2" fmla="*/ 1049238 h 4323335"/>
              <a:gd name="connsiteX3" fmla="*/ 2363904 w 2518043"/>
              <a:gd name="connsiteY3" fmla="*/ 391151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323113 w 2518043"/>
              <a:gd name="connsiteY1" fmla="*/ 1708382 h 4323335"/>
              <a:gd name="connsiteX2" fmla="*/ 1435075 w 2518043"/>
              <a:gd name="connsiteY2" fmla="*/ 1049238 h 4323335"/>
              <a:gd name="connsiteX3" fmla="*/ 2316839 w 2518043"/>
              <a:gd name="connsiteY3" fmla="*/ 397874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323113 w 2518043"/>
              <a:gd name="connsiteY1" fmla="*/ 1708382 h 4323335"/>
              <a:gd name="connsiteX2" fmla="*/ 1435075 w 2518043"/>
              <a:gd name="connsiteY2" fmla="*/ 1049238 h 4323335"/>
              <a:gd name="connsiteX3" fmla="*/ 2316839 w 2518043"/>
              <a:gd name="connsiteY3" fmla="*/ 397874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323113 w 2518043"/>
              <a:gd name="connsiteY1" fmla="*/ 1708382 h 4323335"/>
              <a:gd name="connsiteX2" fmla="*/ 1435075 w 2518043"/>
              <a:gd name="connsiteY2" fmla="*/ 1049238 h 4323335"/>
              <a:gd name="connsiteX3" fmla="*/ 2303392 w 2518043"/>
              <a:gd name="connsiteY3" fmla="*/ 397874 h 4323335"/>
              <a:gd name="connsiteX4" fmla="*/ 2488854 w 2518043"/>
              <a:gd name="connsiteY4" fmla="*/ 0 h 4323335"/>
              <a:gd name="connsiteX5" fmla="*/ 2518043 w 2518043"/>
              <a:gd name="connsiteY5" fmla="*/ 2220017 h 4323335"/>
              <a:gd name="connsiteX6" fmla="*/ 0 w 2518043"/>
              <a:gd name="connsiteY6" fmla="*/ 4323335 h 4323335"/>
              <a:gd name="connsiteX7" fmla="*/ 78056 w 2518043"/>
              <a:gd name="connsiteY7" fmla="*/ 2375375 h 4323335"/>
              <a:gd name="connsiteX0" fmla="*/ 78056 w 2518043"/>
              <a:gd name="connsiteY0" fmla="*/ 2375375 h 4323335"/>
              <a:gd name="connsiteX1" fmla="*/ 323113 w 2518043"/>
              <a:gd name="connsiteY1" fmla="*/ 1708382 h 4323335"/>
              <a:gd name="connsiteX2" fmla="*/ 2303392 w 2518043"/>
              <a:gd name="connsiteY2" fmla="*/ 397874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75375 h 4323335"/>
              <a:gd name="connsiteX1" fmla="*/ 484478 w 2518043"/>
              <a:gd name="connsiteY1" fmla="*/ 1533570 h 4323335"/>
              <a:gd name="connsiteX2" fmla="*/ 2303392 w 2518043"/>
              <a:gd name="connsiteY2" fmla="*/ 397874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75375 h 4323335"/>
              <a:gd name="connsiteX1" fmla="*/ 484478 w 2518043"/>
              <a:gd name="connsiteY1" fmla="*/ 1533570 h 4323335"/>
              <a:gd name="connsiteX2" fmla="*/ 2303392 w 2518043"/>
              <a:gd name="connsiteY2" fmla="*/ 397874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75375 h 4323335"/>
              <a:gd name="connsiteX1" fmla="*/ 484478 w 2518043"/>
              <a:gd name="connsiteY1" fmla="*/ 1533570 h 4323335"/>
              <a:gd name="connsiteX2" fmla="*/ 2303392 w 2518043"/>
              <a:gd name="connsiteY2" fmla="*/ 397874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75375 h 4323335"/>
              <a:gd name="connsiteX1" fmla="*/ 477755 w 2518043"/>
              <a:gd name="connsiteY1" fmla="*/ 1594082 h 4323335"/>
              <a:gd name="connsiteX2" fmla="*/ 2303392 w 2518043"/>
              <a:gd name="connsiteY2" fmla="*/ 397874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75375 h 4323335"/>
              <a:gd name="connsiteX1" fmla="*/ 477755 w 2518043"/>
              <a:gd name="connsiteY1" fmla="*/ 1594082 h 4323335"/>
              <a:gd name="connsiteX2" fmla="*/ 2303392 w 2518043"/>
              <a:gd name="connsiteY2" fmla="*/ 397874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75375 h 4323335"/>
              <a:gd name="connsiteX1" fmla="*/ 477755 w 2518043"/>
              <a:gd name="connsiteY1" fmla="*/ 1594082 h 4323335"/>
              <a:gd name="connsiteX2" fmla="*/ 2303392 w 2518043"/>
              <a:gd name="connsiteY2" fmla="*/ 397874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75375 h 4323335"/>
              <a:gd name="connsiteX1" fmla="*/ 477755 w 2518043"/>
              <a:gd name="connsiteY1" fmla="*/ 1594082 h 4323335"/>
              <a:gd name="connsiteX2" fmla="*/ 2303392 w 2518043"/>
              <a:gd name="connsiteY2" fmla="*/ 397874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81300 h 4329260"/>
              <a:gd name="connsiteX1" fmla="*/ 477755 w 2518043"/>
              <a:gd name="connsiteY1" fmla="*/ 1600007 h 4329260"/>
              <a:gd name="connsiteX2" fmla="*/ 2488854 w 2518043"/>
              <a:gd name="connsiteY2" fmla="*/ 5925 h 4329260"/>
              <a:gd name="connsiteX3" fmla="*/ 2518043 w 2518043"/>
              <a:gd name="connsiteY3" fmla="*/ 2225942 h 4329260"/>
              <a:gd name="connsiteX4" fmla="*/ 0 w 2518043"/>
              <a:gd name="connsiteY4" fmla="*/ 4329260 h 4329260"/>
              <a:gd name="connsiteX5" fmla="*/ 78056 w 2518043"/>
              <a:gd name="connsiteY5" fmla="*/ 2381300 h 4329260"/>
              <a:gd name="connsiteX0" fmla="*/ 78056 w 2518043"/>
              <a:gd name="connsiteY0" fmla="*/ 2425683 h 4373643"/>
              <a:gd name="connsiteX1" fmla="*/ 477755 w 2518043"/>
              <a:gd name="connsiteY1" fmla="*/ 1644390 h 4373643"/>
              <a:gd name="connsiteX2" fmla="*/ 2488854 w 2518043"/>
              <a:gd name="connsiteY2" fmla="*/ 50308 h 4373643"/>
              <a:gd name="connsiteX3" fmla="*/ 2518043 w 2518043"/>
              <a:gd name="connsiteY3" fmla="*/ 2270325 h 4373643"/>
              <a:gd name="connsiteX4" fmla="*/ 0 w 2518043"/>
              <a:gd name="connsiteY4" fmla="*/ 4373643 h 4373643"/>
              <a:gd name="connsiteX5" fmla="*/ 78056 w 2518043"/>
              <a:gd name="connsiteY5" fmla="*/ 2425683 h 4373643"/>
              <a:gd name="connsiteX0" fmla="*/ 78056 w 2518043"/>
              <a:gd name="connsiteY0" fmla="*/ 2516420 h 4464380"/>
              <a:gd name="connsiteX1" fmla="*/ 477755 w 2518043"/>
              <a:gd name="connsiteY1" fmla="*/ 1735127 h 4464380"/>
              <a:gd name="connsiteX2" fmla="*/ 1974770 w 2518043"/>
              <a:gd name="connsiteY2" fmla="*/ 391109 h 4464380"/>
              <a:gd name="connsiteX3" fmla="*/ 2488854 w 2518043"/>
              <a:gd name="connsiteY3" fmla="*/ 141045 h 4464380"/>
              <a:gd name="connsiteX4" fmla="*/ 2518043 w 2518043"/>
              <a:gd name="connsiteY4" fmla="*/ 2361062 h 4464380"/>
              <a:gd name="connsiteX5" fmla="*/ 0 w 2518043"/>
              <a:gd name="connsiteY5" fmla="*/ 4464380 h 4464380"/>
              <a:gd name="connsiteX6" fmla="*/ 78056 w 2518043"/>
              <a:gd name="connsiteY6" fmla="*/ 2516420 h 4464380"/>
              <a:gd name="connsiteX0" fmla="*/ 78056 w 2518043"/>
              <a:gd name="connsiteY0" fmla="*/ 2449667 h 4397627"/>
              <a:gd name="connsiteX1" fmla="*/ 477755 w 2518043"/>
              <a:gd name="connsiteY1" fmla="*/ 1668374 h 4397627"/>
              <a:gd name="connsiteX2" fmla="*/ 1920981 w 2518043"/>
              <a:gd name="connsiteY2" fmla="*/ 862239 h 4397627"/>
              <a:gd name="connsiteX3" fmla="*/ 2488854 w 2518043"/>
              <a:gd name="connsiteY3" fmla="*/ 74292 h 4397627"/>
              <a:gd name="connsiteX4" fmla="*/ 2518043 w 2518043"/>
              <a:gd name="connsiteY4" fmla="*/ 2294309 h 4397627"/>
              <a:gd name="connsiteX5" fmla="*/ 0 w 2518043"/>
              <a:gd name="connsiteY5" fmla="*/ 4397627 h 4397627"/>
              <a:gd name="connsiteX6" fmla="*/ 78056 w 2518043"/>
              <a:gd name="connsiteY6" fmla="*/ 2449667 h 4397627"/>
              <a:gd name="connsiteX0" fmla="*/ 78056 w 2518043"/>
              <a:gd name="connsiteY0" fmla="*/ 2449667 h 4397627"/>
              <a:gd name="connsiteX1" fmla="*/ 477755 w 2518043"/>
              <a:gd name="connsiteY1" fmla="*/ 1668374 h 4397627"/>
              <a:gd name="connsiteX2" fmla="*/ 1920981 w 2518043"/>
              <a:gd name="connsiteY2" fmla="*/ 862239 h 4397627"/>
              <a:gd name="connsiteX3" fmla="*/ 2488854 w 2518043"/>
              <a:gd name="connsiteY3" fmla="*/ 74292 h 4397627"/>
              <a:gd name="connsiteX4" fmla="*/ 2518043 w 2518043"/>
              <a:gd name="connsiteY4" fmla="*/ 2294309 h 4397627"/>
              <a:gd name="connsiteX5" fmla="*/ 0 w 2518043"/>
              <a:gd name="connsiteY5" fmla="*/ 4397627 h 4397627"/>
              <a:gd name="connsiteX6" fmla="*/ 78056 w 2518043"/>
              <a:gd name="connsiteY6" fmla="*/ 2449667 h 4397627"/>
              <a:gd name="connsiteX0" fmla="*/ 78056 w 2518043"/>
              <a:gd name="connsiteY0" fmla="*/ 2449667 h 4397627"/>
              <a:gd name="connsiteX1" fmla="*/ 477755 w 2518043"/>
              <a:gd name="connsiteY1" fmla="*/ 1668374 h 4397627"/>
              <a:gd name="connsiteX2" fmla="*/ 1920981 w 2518043"/>
              <a:gd name="connsiteY2" fmla="*/ 862239 h 4397627"/>
              <a:gd name="connsiteX3" fmla="*/ 2488854 w 2518043"/>
              <a:gd name="connsiteY3" fmla="*/ 74292 h 4397627"/>
              <a:gd name="connsiteX4" fmla="*/ 2518043 w 2518043"/>
              <a:gd name="connsiteY4" fmla="*/ 2294309 h 4397627"/>
              <a:gd name="connsiteX5" fmla="*/ 0 w 2518043"/>
              <a:gd name="connsiteY5" fmla="*/ 4397627 h 4397627"/>
              <a:gd name="connsiteX6" fmla="*/ 78056 w 2518043"/>
              <a:gd name="connsiteY6" fmla="*/ 2449667 h 4397627"/>
              <a:gd name="connsiteX0" fmla="*/ 78056 w 2518043"/>
              <a:gd name="connsiteY0" fmla="*/ 2375375 h 4323335"/>
              <a:gd name="connsiteX1" fmla="*/ 477755 w 2518043"/>
              <a:gd name="connsiteY1" fmla="*/ 1594082 h 4323335"/>
              <a:gd name="connsiteX2" fmla="*/ 1920981 w 2518043"/>
              <a:gd name="connsiteY2" fmla="*/ 787947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18043"/>
              <a:gd name="connsiteY0" fmla="*/ 2375375 h 4323335"/>
              <a:gd name="connsiteX1" fmla="*/ 477755 w 2518043"/>
              <a:gd name="connsiteY1" fmla="*/ 1594082 h 4323335"/>
              <a:gd name="connsiteX2" fmla="*/ 1920981 w 2518043"/>
              <a:gd name="connsiteY2" fmla="*/ 787947 h 4323335"/>
              <a:gd name="connsiteX3" fmla="*/ 2488854 w 2518043"/>
              <a:gd name="connsiteY3" fmla="*/ 0 h 4323335"/>
              <a:gd name="connsiteX4" fmla="*/ 2518043 w 2518043"/>
              <a:gd name="connsiteY4" fmla="*/ 2220017 h 4323335"/>
              <a:gd name="connsiteX5" fmla="*/ 0 w 2518043"/>
              <a:gd name="connsiteY5" fmla="*/ 4323335 h 4323335"/>
              <a:gd name="connsiteX6" fmla="*/ 78056 w 2518043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920981 w 2531490"/>
              <a:gd name="connsiteY2" fmla="*/ 78794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783330 w 2531490"/>
              <a:gd name="connsiteY2" fmla="*/ 669960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77755 w 2531490"/>
              <a:gd name="connsiteY1" fmla="*/ 1594082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23579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23579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23579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23579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23579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23579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23579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23579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23579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23579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23579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78056 w 2531490"/>
              <a:gd name="connsiteY0" fmla="*/ 2375375 h 4323335"/>
              <a:gd name="connsiteX1" fmla="*/ 418762 w 2531490"/>
              <a:gd name="connsiteY1" fmla="*/ 1653076 h 4323335"/>
              <a:gd name="connsiteX2" fmla="*/ 1871820 w 2531490"/>
              <a:gd name="connsiteY2" fmla="*/ 827277 h 4323335"/>
              <a:gd name="connsiteX3" fmla="*/ 2488854 w 2531490"/>
              <a:gd name="connsiteY3" fmla="*/ 0 h 4323335"/>
              <a:gd name="connsiteX4" fmla="*/ 2531490 w 2531490"/>
              <a:gd name="connsiteY4" fmla="*/ 2226740 h 4323335"/>
              <a:gd name="connsiteX5" fmla="*/ 0 w 2531490"/>
              <a:gd name="connsiteY5" fmla="*/ 4323335 h 4323335"/>
              <a:gd name="connsiteX6" fmla="*/ 78056 w 2531490"/>
              <a:gd name="connsiteY6" fmla="*/ 2375375 h 4323335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878544 w 2538214"/>
              <a:gd name="connsiteY2" fmla="*/ 827277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878544 w 2538214"/>
              <a:gd name="connsiteY2" fmla="*/ 827277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878544 w 2538214"/>
              <a:gd name="connsiteY2" fmla="*/ 827277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878544 w 2538214"/>
              <a:gd name="connsiteY2" fmla="*/ 827277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878544 w 2538214"/>
              <a:gd name="connsiteY2" fmla="*/ 827277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878544 w 2538214"/>
              <a:gd name="connsiteY2" fmla="*/ 827277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878544 w 2538214"/>
              <a:gd name="connsiteY2" fmla="*/ 827277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878544 w 2538214"/>
              <a:gd name="connsiteY2" fmla="*/ 827277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878544 w 2538214"/>
              <a:gd name="connsiteY2" fmla="*/ 827277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878544 w 2538214"/>
              <a:gd name="connsiteY2" fmla="*/ 827277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902076 w 2538214"/>
              <a:gd name="connsiteY2" fmla="*/ 830639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902076 w 2538214"/>
              <a:gd name="connsiteY2" fmla="*/ 830639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902076 w 2538214"/>
              <a:gd name="connsiteY2" fmla="*/ 830639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902076 w 2538214"/>
              <a:gd name="connsiteY2" fmla="*/ 830639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902076 w 2538214"/>
              <a:gd name="connsiteY2" fmla="*/ 830639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902076 w 2538214"/>
              <a:gd name="connsiteY2" fmla="*/ 830639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902076 w 2538214"/>
              <a:gd name="connsiteY2" fmla="*/ 830639 h 4390571"/>
              <a:gd name="connsiteX3" fmla="*/ 2495578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5375 h 4390571"/>
              <a:gd name="connsiteX1" fmla="*/ 425486 w 2538214"/>
              <a:gd name="connsiteY1" fmla="*/ 1653076 h 4390571"/>
              <a:gd name="connsiteX2" fmla="*/ 1902076 w 2538214"/>
              <a:gd name="connsiteY2" fmla="*/ 830639 h 4390571"/>
              <a:gd name="connsiteX3" fmla="*/ 2502302 w 2538214"/>
              <a:gd name="connsiteY3" fmla="*/ 0 h 4390571"/>
              <a:gd name="connsiteX4" fmla="*/ 2538214 w 2538214"/>
              <a:gd name="connsiteY4" fmla="*/ 2226740 h 4390571"/>
              <a:gd name="connsiteX5" fmla="*/ 0 w 2538214"/>
              <a:gd name="connsiteY5" fmla="*/ 4390571 h 4390571"/>
              <a:gd name="connsiteX6" fmla="*/ 84780 w 2538214"/>
              <a:gd name="connsiteY6" fmla="*/ 2375375 h 4390571"/>
              <a:gd name="connsiteX0" fmla="*/ 84780 w 2538214"/>
              <a:gd name="connsiteY0" fmla="*/ 2372014 h 4387210"/>
              <a:gd name="connsiteX1" fmla="*/ 425486 w 2538214"/>
              <a:gd name="connsiteY1" fmla="*/ 1649715 h 4387210"/>
              <a:gd name="connsiteX2" fmla="*/ 1902076 w 2538214"/>
              <a:gd name="connsiteY2" fmla="*/ 827278 h 4387210"/>
              <a:gd name="connsiteX3" fmla="*/ 2492216 w 2538214"/>
              <a:gd name="connsiteY3" fmla="*/ 0 h 4387210"/>
              <a:gd name="connsiteX4" fmla="*/ 2538214 w 2538214"/>
              <a:gd name="connsiteY4" fmla="*/ 2223379 h 4387210"/>
              <a:gd name="connsiteX5" fmla="*/ 0 w 2538214"/>
              <a:gd name="connsiteY5" fmla="*/ 4387210 h 4387210"/>
              <a:gd name="connsiteX6" fmla="*/ 84780 w 2538214"/>
              <a:gd name="connsiteY6" fmla="*/ 2372014 h 4387210"/>
              <a:gd name="connsiteX0" fmla="*/ 84780 w 2538214"/>
              <a:gd name="connsiteY0" fmla="*/ 2331673 h 4346869"/>
              <a:gd name="connsiteX1" fmla="*/ 425486 w 2538214"/>
              <a:gd name="connsiteY1" fmla="*/ 1609374 h 4346869"/>
              <a:gd name="connsiteX2" fmla="*/ 1902076 w 2538214"/>
              <a:gd name="connsiteY2" fmla="*/ 786937 h 4346869"/>
              <a:gd name="connsiteX3" fmla="*/ 2492216 w 2538214"/>
              <a:gd name="connsiteY3" fmla="*/ 0 h 4346869"/>
              <a:gd name="connsiteX4" fmla="*/ 2538214 w 2538214"/>
              <a:gd name="connsiteY4" fmla="*/ 2183038 h 4346869"/>
              <a:gd name="connsiteX5" fmla="*/ 0 w 2538214"/>
              <a:gd name="connsiteY5" fmla="*/ 4346869 h 4346869"/>
              <a:gd name="connsiteX6" fmla="*/ 84780 w 2538214"/>
              <a:gd name="connsiteY6" fmla="*/ 2331673 h 4346869"/>
              <a:gd name="connsiteX0" fmla="*/ 84780 w 2538214"/>
              <a:gd name="connsiteY0" fmla="*/ 2348482 h 4363678"/>
              <a:gd name="connsiteX1" fmla="*/ 425486 w 2538214"/>
              <a:gd name="connsiteY1" fmla="*/ 1626183 h 4363678"/>
              <a:gd name="connsiteX2" fmla="*/ 1902076 w 2538214"/>
              <a:gd name="connsiteY2" fmla="*/ 803746 h 4363678"/>
              <a:gd name="connsiteX3" fmla="*/ 2492216 w 2538214"/>
              <a:gd name="connsiteY3" fmla="*/ 0 h 4363678"/>
              <a:gd name="connsiteX4" fmla="*/ 2538214 w 2538214"/>
              <a:gd name="connsiteY4" fmla="*/ 2199847 h 4363678"/>
              <a:gd name="connsiteX5" fmla="*/ 0 w 2538214"/>
              <a:gd name="connsiteY5" fmla="*/ 4363678 h 4363678"/>
              <a:gd name="connsiteX6" fmla="*/ 84780 w 2538214"/>
              <a:gd name="connsiteY6" fmla="*/ 2348482 h 4363678"/>
              <a:gd name="connsiteX0" fmla="*/ 84780 w 2538214"/>
              <a:gd name="connsiteY0" fmla="*/ 2348482 h 4363678"/>
              <a:gd name="connsiteX1" fmla="*/ 425486 w 2538214"/>
              <a:gd name="connsiteY1" fmla="*/ 1626183 h 4363678"/>
              <a:gd name="connsiteX2" fmla="*/ 1902076 w 2538214"/>
              <a:gd name="connsiteY2" fmla="*/ 803746 h 4363678"/>
              <a:gd name="connsiteX3" fmla="*/ 2492216 w 2538214"/>
              <a:gd name="connsiteY3" fmla="*/ 0 h 4363678"/>
              <a:gd name="connsiteX4" fmla="*/ 2538214 w 2538214"/>
              <a:gd name="connsiteY4" fmla="*/ 2199847 h 4363678"/>
              <a:gd name="connsiteX5" fmla="*/ 0 w 2538214"/>
              <a:gd name="connsiteY5" fmla="*/ 4363678 h 4363678"/>
              <a:gd name="connsiteX6" fmla="*/ 84780 w 2538214"/>
              <a:gd name="connsiteY6" fmla="*/ 2348482 h 4363678"/>
              <a:gd name="connsiteX0" fmla="*/ 84780 w 2538214"/>
              <a:gd name="connsiteY0" fmla="*/ 2348482 h 4363678"/>
              <a:gd name="connsiteX1" fmla="*/ 425486 w 2538214"/>
              <a:gd name="connsiteY1" fmla="*/ 1626183 h 4363678"/>
              <a:gd name="connsiteX2" fmla="*/ 1902076 w 2538214"/>
              <a:gd name="connsiteY2" fmla="*/ 803746 h 4363678"/>
              <a:gd name="connsiteX3" fmla="*/ 2492216 w 2538214"/>
              <a:gd name="connsiteY3" fmla="*/ 0 h 4363678"/>
              <a:gd name="connsiteX4" fmla="*/ 2538214 w 2538214"/>
              <a:gd name="connsiteY4" fmla="*/ 2199847 h 4363678"/>
              <a:gd name="connsiteX5" fmla="*/ 0 w 2538214"/>
              <a:gd name="connsiteY5" fmla="*/ 4363678 h 4363678"/>
              <a:gd name="connsiteX6" fmla="*/ 84780 w 2538214"/>
              <a:gd name="connsiteY6" fmla="*/ 2348482 h 4363678"/>
              <a:gd name="connsiteX0" fmla="*/ 84780 w 2538214"/>
              <a:gd name="connsiteY0" fmla="*/ 2348482 h 4363678"/>
              <a:gd name="connsiteX1" fmla="*/ 425486 w 2538214"/>
              <a:gd name="connsiteY1" fmla="*/ 1626183 h 4363678"/>
              <a:gd name="connsiteX2" fmla="*/ 1902076 w 2538214"/>
              <a:gd name="connsiteY2" fmla="*/ 803746 h 4363678"/>
              <a:gd name="connsiteX3" fmla="*/ 2492216 w 2538214"/>
              <a:gd name="connsiteY3" fmla="*/ 0 h 4363678"/>
              <a:gd name="connsiteX4" fmla="*/ 2538214 w 2538214"/>
              <a:gd name="connsiteY4" fmla="*/ 2199847 h 4363678"/>
              <a:gd name="connsiteX5" fmla="*/ 0 w 2538214"/>
              <a:gd name="connsiteY5" fmla="*/ 4363678 h 4363678"/>
              <a:gd name="connsiteX6" fmla="*/ 84780 w 2538214"/>
              <a:gd name="connsiteY6" fmla="*/ 2348482 h 4363678"/>
              <a:gd name="connsiteX0" fmla="*/ 84780 w 2538214"/>
              <a:gd name="connsiteY0" fmla="*/ 2348482 h 4363678"/>
              <a:gd name="connsiteX1" fmla="*/ 425486 w 2538214"/>
              <a:gd name="connsiteY1" fmla="*/ 1626183 h 4363678"/>
              <a:gd name="connsiteX2" fmla="*/ 1902076 w 2538214"/>
              <a:gd name="connsiteY2" fmla="*/ 803746 h 4363678"/>
              <a:gd name="connsiteX3" fmla="*/ 2492216 w 2538214"/>
              <a:gd name="connsiteY3" fmla="*/ 0 h 4363678"/>
              <a:gd name="connsiteX4" fmla="*/ 2538214 w 2538214"/>
              <a:gd name="connsiteY4" fmla="*/ 2199847 h 4363678"/>
              <a:gd name="connsiteX5" fmla="*/ 0 w 2538214"/>
              <a:gd name="connsiteY5" fmla="*/ 4363678 h 4363678"/>
              <a:gd name="connsiteX6" fmla="*/ 84780 w 2538214"/>
              <a:gd name="connsiteY6" fmla="*/ 2348482 h 4363678"/>
              <a:gd name="connsiteX0" fmla="*/ 84780 w 2538214"/>
              <a:gd name="connsiteY0" fmla="*/ 2348482 h 4363678"/>
              <a:gd name="connsiteX1" fmla="*/ 422125 w 2538214"/>
              <a:gd name="connsiteY1" fmla="*/ 1642991 h 4363678"/>
              <a:gd name="connsiteX2" fmla="*/ 1902076 w 2538214"/>
              <a:gd name="connsiteY2" fmla="*/ 803746 h 4363678"/>
              <a:gd name="connsiteX3" fmla="*/ 2492216 w 2538214"/>
              <a:gd name="connsiteY3" fmla="*/ 0 h 4363678"/>
              <a:gd name="connsiteX4" fmla="*/ 2538214 w 2538214"/>
              <a:gd name="connsiteY4" fmla="*/ 2199847 h 4363678"/>
              <a:gd name="connsiteX5" fmla="*/ 0 w 2538214"/>
              <a:gd name="connsiteY5" fmla="*/ 4363678 h 4363678"/>
              <a:gd name="connsiteX6" fmla="*/ 84780 w 2538214"/>
              <a:gd name="connsiteY6" fmla="*/ 2348482 h 4363678"/>
              <a:gd name="connsiteX0" fmla="*/ 84780 w 2538214"/>
              <a:gd name="connsiteY0" fmla="*/ 2348482 h 4363678"/>
              <a:gd name="connsiteX1" fmla="*/ 422125 w 2538214"/>
              <a:gd name="connsiteY1" fmla="*/ 1642991 h 4363678"/>
              <a:gd name="connsiteX2" fmla="*/ 1902076 w 2538214"/>
              <a:gd name="connsiteY2" fmla="*/ 803746 h 4363678"/>
              <a:gd name="connsiteX3" fmla="*/ 2492216 w 2538214"/>
              <a:gd name="connsiteY3" fmla="*/ 0 h 4363678"/>
              <a:gd name="connsiteX4" fmla="*/ 2538214 w 2538214"/>
              <a:gd name="connsiteY4" fmla="*/ 2199847 h 4363678"/>
              <a:gd name="connsiteX5" fmla="*/ 0 w 2538214"/>
              <a:gd name="connsiteY5" fmla="*/ 4363678 h 4363678"/>
              <a:gd name="connsiteX6" fmla="*/ 84780 w 2538214"/>
              <a:gd name="connsiteY6" fmla="*/ 2348482 h 4363678"/>
              <a:gd name="connsiteX0" fmla="*/ 84780 w 2538214"/>
              <a:gd name="connsiteY0" fmla="*/ 2348482 h 4363678"/>
              <a:gd name="connsiteX1" fmla="*/ 415401 w 2538214"/>
              <a:gd name="connsiteY1" fmla="*/ 1636268 h 4363678"/>
              <a:gd name="connsiteX2" fmla="*/ 1902076 w 2538214"/>
              <a:gd name="connsiteY2" fmla="*/ 803746 h 4363678"/>
              <a:gd name="connsiteX3" fmla="*/ 2492216 w 2538214"/>
              <a:gd name="connsiteY3" fmla="*/ 0 h 4363678"/>
              <a:gd name="connsiteX4" fmla="*/ 2538214 w 2538214"/>
              <a:gd name="connsiteY4" fmla="*/ 2199847 h 4363678"/>
              <a:gd name="connsiteX5" fmla="*/ 0 w 2538214"/>
              <a:gd name="connsiteY5" fmla="*/ 4363678 h 4363678"/>
              <a:gd name="connsiteX6" fmla="*/ 84780 w 2538214"/>
              <a:gd name="connsiteY6" fmla="*/ 2348482 h 4363678"/>
              <a:gd name="connsiteX0" fmla="*/ 84780 w 2538214"/>
              <a:gd name="connsiteY0" fmla="*/ 2348482 h 4363678"/>
              <a:gd name="connsiteX1" fmla="*/ 415401 w 2538214"/>
              <a:gd name="connsiteY1" fmla="*/ 1636268 h 4363678"/>
              <a:gd name="connsiteX2" fmla="*/ 1902076 w 2538214"/>
              <a:gd name="connsiteY2" fmla="*/ 803746 h 4363678"/>
              <a:gd name="connsiteX3" fmla="*/ 2492216 w 2538214"/>
              <a:gd name="connsiteY3" fmla="*/ 0 h 4363678"/>
              <a:gd name="connsiteX4" fmla="*/ 2538214 w 2538214"/>
              <a:gd name="connsiteY4" fmla="*/ 2199847 h 4363678"/>
              <a:gd name="connsiteX5" fmla="*/ 0 w 2538214"/>
              <a:gd name="connsiteY5" fmla="*/ 4363678 h 4363678"/>
              <a:gd name="connsiteX6" fmla="*/ 84780 w 2538214"/>
              <a:gd name="connsiteY6" fmla="*/ 2348482 h 4363678"/>
              <a:gd name="connsiteX0" fmla="*/ 84780 w 2538214"/>
              <a:gd name="connsiteY0" fmla="*/ 2348482 h 4363678"/>
              <a:gd name="connsiteX1" fmla="*/ 415401 w 2538214"/>
              <a:gd name="connsiteY1" fmla="*/ 1636268 h 4363678"/>
              <a:gd name="connsiteX2" fmla="*/ 1902076 w 2538214"/>
              <a:gd name="connsiteY2" fmla="*/ 803746 h 4363678"/>
              <a:gd name="connsiteX3" fmla="*/ 2492216 w 2538214"/>
              <a:gd name="connsiteY3" fmla="*/ 0 h 4363678"/>
              <a:gd name="connsiteX4" fmla="*/ 2538214 w 2538214"/>
              <a:gd name="connsiteY4" fmla="*/ 2199847 h 4363678"/>
              <a:gd name="connsiteX5" fmla="*/ 0 w 2538214"/>
              <a:gd name="connsiteY5" fmla="*/ 4363678 h 4363678"/>
              <a:gd name="connsiteX6" fmla="*/ 84780 w 2538214"/>
              <a:gd name="connsiteY6" fmla="*/ 2348482 h 4363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38214" h="4363678">
                <a:moveTo>
                  <a:pt x="84780" y="2348482"/>
                </a:moveTo>
                <a:cubicBezTo>
                  <a:pt x="90374" y="2015841"/>
                  <a:pt x="105736" y="1838504"/>
                  <a:pt x="415401" y="1636268"/>
                </a:cubicBezTo>
                <a:cubicBezTo>
                  <a:pt x="769969" y="1404707"/>
                  <a:pt x="1199208" y="1213482"/>
                  <a:pt x="1902076" y="803746"/>
                </a:cubicBezTo>
                <a:cubicBezTo>
                  <a:pt x="2148768" y="626557"/>
                  <a:pt x="2351244" y="381007"/>
                  <a:pt x="2492216" y="0"/>
                </a:cubicBezTo>
                <a:cubicBezTo>
                  <a:pt x="2508669" y="754573"/>
                  <a:pt x="2535208" y="1448635"/>
                  <a:pt x="2538214" y="2199847"/>
                </a:cubicBezTo>
                <a:cubicBezTo>
                  <a:pt x="2032689" y="3343421"/>
                  <a:pt x="85137" y="3365234"/>
                  <a:pt x="0" y="4363678"/>
                </a:cubicBezTo>
                <a:cubicBezTo>
                  <a:pt x="22302" y="3740378"/>
                  <a:pt x="40176" y="3350923"/>
                  <a:pt x="84780" y="2348482"/>
                </a:cubicBezTo>
                <a:close/>
              </a:path>
            </a:pathLst>
          </a:custGeom>
          <a:blipFill dpi="0" rotWithShape="0">
            <a:blip r:embed="rId2"/>
            <a:srcRect/>
            <a:stretch>
              <a:fillRect l="-77942" t="248" r="-79936" b="-248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endParaRPr lang="en-US" sz="1350" b="1" cap="none" spc="0" dirty="0">
              <a:ln/>
              <a:noFill/>
              <a:effectLst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95B93FA-CB50-463C-8A2E-A040F01014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592991"/>
            <a:ext cx="6703801" cy="1339837"/>
          </a:xfrm>
        </p:spPr>
        <p:txBody>
          <a:bodyPr anchor="t">
            <a:normAutofit/>
          </a:bodyPr>
          <a:lstStyle>
            <a:lvl1pPr algn="l">
              <a:defRPr sz="40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8EE31C2-8173-429C-A997-CFAD05F29B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4" y="2303927"/>
            <a:ext cx="365760" cy="27850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253AA4A-8D30-4256-A9F1-06E4C18466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822526"/>
            <a:ext cx="6703801" cy="481013"/>
          </a:xfrm>
        </p:spPr>
        <p:txBody>
          <a:bodyPr>
            <a:noAutofit/>
          </a:bodyPr>
          <a:lstStyle>
            <a:lvl1pPr marL="0" indent="0">
              <a:buNone/>
              <a:defRPr sz="1600" b="1" kern="4000" cap="all" spc="0" baseline="0">
                <a:solidFill>
                  <a:schemeClr val="accent3"/>
                </a:solidFill>
                <a:effectLst/>
              </a:defRPr>
            </a:lvl1pPr>
            <a:lvl2pPr marL="457165" indent="0">
              <a:buNone/>
              <a:defRPr>
                <a:solidFill>
                  <a:schemeClr val="accent3"/>
                </a:solidFill>
              </a:defRPr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3" indent="0"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345EE6FD-1692-4800-A516-6AECE8F74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16653" y="6084217"/>
            <a:ext cx="507261" cy="365125"/>
          </a:xfrm>
        </p:spPr>
        <p:txBody>
          <a:bodyPr/>
          <a:lstStyle>
            <a:lvl1pPr>
              <a:defRPr sz="1300" baseline="0"/>
            </a:lvl1pPr>
          </a:lstStyle>
          <a:p>
            <a:fld id="{4B52A89A-C1B0-2442-8250-577B108BB3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2EFE92DF-C4E8-4815-BB67-EB8ABB2E8A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" y="4156349"/>
            <a:ext cx="6703801" cy="1817732"/>
          </a:xfrm>
        </p:spPr>
        <p:txBody>
          <a:bodyPr lIns="91440" tIns="45720" rIns="91440" bIns="45720">
            <a:normAutofit/>
          </a:bodyPr>
          <a:lstStyle>
            <a:lvl1pPr marL="0" indent="0" algn="l">
              <a:buNone/>
              <a:defRPr sz="2500">
                <a:solidFill>
                  <a:schemeClr val="bg1"/>
                </a:solidFill>
              </a:defRPr>
            </a:lvl1pPr>
            <a:lvl2pPr marL="4571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Transition Slide w/ formatted p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495B93FA-CB50-463C-8A2E-A040F01014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592991"/>
            <a:ext cx="6703801" cy="1339837"/>
          </a:xfrm>
        </p:spPr>
        <p:txBody>
          <a:bodyPr anchor="t">
            <a:normAutofit/>
          </a:bodyPr>
          <a:lstStyle>
            <a:lvl1pPr algn="l">
              <a:defRPr sz="40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8EE31C2-8173-429C-A997-CFAD05F29B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4" y="2303927"/>
            <a:ext cx="365760" cy="27850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253AA4A-8D30-4256-A9F1-06E4C18466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822526"/>
            <a:ext cx="6703801" cy="481013"/>
          </a:xfrm>
        </p:spPr>
        <p:txBody>
          <a:bodyPr>
            <a:noAutofit/>
          </a:bodyPr>
          <a:lstStyle>
            <a:lvl1pPr marL="0" indent="0">
              <a:buNone/>
              <a:defRPr sz="1600" b="1" kern="4000" cap="all" spc="0" baseline="0">
                <a:solidFill>
                  <a:schemeClr val="accent3"/>
                </a:solidFill>
                <a:effectLst/>
              </a:defRPr>
            </a:lvl1pPr>
            <a:lvl2pPr marL="457165" indent="0">
              <a:buNone/>
              <a:defRPr>
                <a:solidFill>
                  <a:schemeClr val="accent3"/>
                </a:solidFill>
              </a:defRPr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3" indent="0"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345EE6FD-1692-4800-A516-6AECE8F74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16653" y="6084217"/>
            <a:ext cx="507261" cy="365125"/>
          </a:xfrm>
        </p:spPr>
        <p:txBody>
          <a:bodyPr/>
          <a:lstStyle>
            <a:lvl1pPr>
              <a:defRPr sz="1300" baseline="0"/>
            </a:lvl1pPr>
          </a:lstStyle>
          <a:p>
            <a:fld id="{4B52A89A-C1B0-2442-8250-577B108BB3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2EFE92DF-C4E8-4815-BB67-EB8ABB2E8A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" y="4156348"/>
            <a:ext cx="6703801" cy="2516513"/>
          </a:xfrm>
        </p:spPr>
        <p:txBody>
          <a:bodyPr lIns="91440" tIns="45720" rIns="91440" bIns="45720">
            <a:normAutofit/>
          </a:bodyPr>
          <a:lstStyle>
            <a:lvl1pPr marL="0" indent="0" algn="l">
              <a:buNone/>
              <a:defRPr sz="2500">
                <a:solidFill>
                  <a:schemeClr val="bg1"/>
                </a:solidFill>
              </a:defRPr>
            </a:lvl1pPr>
            <a:lvl2pPr marL="4571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722392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dea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055092" y="2543807"/>
            <a:ext cx="8081819" cy="1475368"/>
          </a:xfrm>
        </p:spPr>
        <p:txBody>
          <a:bodyPr lIns="0" tIns="0" rIns="0" bIns="0" anchor="t" anchorCtr="0">
            <a:noAutofit/>
          </a:bodyPr>
          <a:lstStyle>
            <a:lvl1pPr algn="ctr">
              <a:defRPr sz="35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a single idea or quote.</a:t>
            </a:r>
          </a:p>
        </p:txBody>
      </p:sp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B7DA036F-8267-4E0A-9B28-02A5D099F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16653" y="6084217"/>
            <a:ext cx="507261" cy="365125"/>
          </a:xfrm>
        </p:spPr>
        <p:txBody>
          <a:bodyPr/>
          <a:lstStyle>
            <a:lvl1pPr>
              <a:defRPr sz="1300" baseline="0">
                <a:solidFill>
                  <a:schemeClr val="tx1"/>
                </a:solidFill>
              </a:defRPr>
            </a:lvl1pPr>
          </a:lstStyle>
          <a:p>
            <a:fld id="{4B52A89A-C1B0-2442-8250-577B108BB3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F411ABA7-4FF0-438A-A613-4CD79712BCF7}"/>
              </a:ext>
            </a:extLst>
          </p:cNvPr>
          <p:cNvSpPr txBox="1">
            <a:spLocks/>
          </p:cNvSpPr>
          <p:nvPr userDrawn="1"/>
        </p:nvSpPr>
        <p:spPr>
          <a:xfrm>
            <a:off x="2055088" y="4220133"/>
            <a:ext cx="8081823" cy="173433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457167" rtl="0" eaLnBrk="1" latinLnBrk="0" hangingPunct="1">
              <a:spcBef>
                <a:spcPct val="0"/>
              </a:spcBef>
              <a:buNone/>
              <a:defRPr sz="35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000" b="0" i="0" baseline="0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7D5D6AAE-4CCC-42F8-BC40-97A0BA42703C}"/>
              </a:ext>
            </a:extLst>
          </p:cNvPr>
          <p:cNvSpPr txBox="1">
            <a:spLocks/>
          </p:cNvSpPr>
          <p:nvPr userDrawn="1"/>
        </p:nvSpPr>
        <p:spPr>
          <a:xfrm>
            <a:off x="2065252" y="3415101"/>
            <a:ext cx="8081819" cy="6040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457167" rtl="0" eaLnBrk="1" latinLnBrk="0" hangingPunct="1">
              <a:spcBef>
                <a:spcPct val="0"/>
              </a:spcBef>
              <a:buNone/>
              <a:defRPr sz="35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411385-F86B-4A5A-8BD5-00422DF693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65252" y="3260785"/>
            <a:ext cx="8091487" cy="2693678"/>
          </a:xfrm>
        </p:spPr>
        <p:txBody>
          <a:bodyPr/>
          <a:lstStyle>
            <a:lvl1pPr marL="0" marR="0" indent="457200" algn="ctr" defTabSz="45716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bg2"/>
              </a:buClr>
              <a:buSzTx/>
              <a:buFontTx/>
              <a:buNone/>
              <a:tabLst/>
              <a:defRPr sz="2500" baseline="0"/>
            </a:lvl1pPr>
          </a:lstStyle>
          <a:p>
            <a:pPr marL="0" marR="0" lvl="0" indent="0" algn="l" defTabSz="45716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en-US" sz="2800" b="0" i="0" baseline="0" dirty="0"/>
              <a:t>This should be related to a speaking point. This should be used as a fun, simple alternative to bullet lists.</a:t>
            </a:r>
          </a:p>
          <a:p>
            <a:pPr lvl="0"/>
            <a:endParaRPr lang="en-US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F3D86C2-E2C0-4313-B6A1-C9FF5666E80E}"/>
              </a:ext>
            </a:extLst>
          </p:cNvPr>
          <p:cNvCxnSpPr/>
          <p:nvPr userDrawn="1"/>
        </p:nvCxnSpPr>
        <p:spPr>
          <a:xfrm>
            <a:off x="4165600" y="2164080"/>
            <a:ext cx="3860800" cy="0"/>
          </a:xfrm>
          <a:prstGeom prst="line">
            <a:avLst/>
          </a:prstGeom>
          <a:ln w="9525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7" name="Picture 26">
            <a:extLst>
              <a:ext uri="{FF2B5EF4-FFF2-40B4-BE49-F238E27FC236}">
                <a16:creationId xmlns:a16="http://schemas.microsoft.com/office/drawing/2014/main" id="{AD8255C1-B04B-4DBA-BEF6-A9C50607BA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27616" y="639733"/>
            <a:ext cx="736768" cy="1524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691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lid Nav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4164AFF-6A2E-4CEC-8884-CD37D943CF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3472" y="5811275"/>
            <a:ext cx="1421248" cy="886881"/>
          </a:xfrm>
          <a:prstGeom prst="rect">
            <a:avLst/>
          </a:prstGeom>
        </p:spPr>
      </p:pic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B7DA036F-8267-4E0A-9B28-02A5D099F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16653" y="6084217"/>
            <a:ext cx="507261" cy="365125"/>
          </a:xfrm>
        </p:spPr>
        <p:txBody>
          <a:bodyPr/>
          <a:lstStyle>
            <a:lvl1pPr>
              <a:defRPr sz="1300" baseline="0">
                <a:solidFill>
                  <a:srgbClr val="FFFFFF"/>
                </a:solidFill>
              </a:defRPr>
            </a:lvl1pPr>
          </a:lstStyle>
          <a:p>
            <a:fld id="{4B52A89A-C1B0-2442-8250-577B108BB3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73164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lid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942751-4075-4D90-8E01-0A40F72AAA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16653" y="6084217"/>
            <a:ext cx="507261" cy="365125"/>
          </a:xfrm>
        </p:spPr>
        <p:txBody>
          <a:bodyPr/>
          <a:lstStyle>
            <a:lvl1pPr>
              <a:defRPr sz="1300" baseline="0"/>
            </a:lvl1pPr>
          </a:lstStyle>
          <a:p>
            <a:fld id="{4B52A89A-C1B0-2442-8250-577B108BB3A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DC28FD5-BF50-4BC0-A3C0-F1C1738A43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74691" y="5677395"/>
            <a:ext cx="1640361" cy="1127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3936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e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114D3F-14BD-1040-8A81-A75FE65A74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95B85C-4BCC-D949-9DC0-F6A10AAB5AE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UCB Team Name [XXXXXXX] - UCB - Approval [XX-XX-XXX] - Approval date [XX Month XXXX] ! GO TO INSERT&gt;HEADER FOOTER to change. </a:t>
            </a:r>
            <a:endParaRPr lang="en-B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9E147DE-4D05-BB45-A257-0D184DBEC5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50924" y="6406168"/>
            <a:ext cx="8829521" cy="110800"/>
          </a:xfrm>
        </p:spPr>
        <p:txBody>
          <a:bodyPr vert="horz" wrap="square" lIns="0" tIns="0" rIns="91440" bIns="0" rtlCol="0" anchor="b">
            <a:spAutoFit/>
          </a:bodyPr>
          <a:lstStyle>
            <a:lvl1pPr marL="0" indent="0">
              <a:buNone/>
              <a:defRPr lang="en-BE" sz="800" dirty="0"/>
            </a:lvl1pPr>
          </a:lstStyle>
          <a:p>
            <a:pPr marL="0" lvl="0"/>
            <a:r>
              <a:rPr lang="en-GB"/>
              <a:t>References</a:t>
            </a:r>
            <a:endParaRPr lang="en-BE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8A45D60-3196-6042-836D-45547787D11C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26027" y="1412875"/>
            <a:ext cx="11339946" cy="46958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E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60528AF-2E04-7C46-A0A8-47B612A1F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6027" y="821163"/>
            <a:ext cx="11339946" cy="369332"/>
          </a:xfrm>
        </p:spPr>
        <p:txBody>
          <a:bodyPr wrap="square"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2156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2D24B9-0327-42D1-83AA-A93046B394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928D8D-621A-4A24-BA65-2DD2DA7BDF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0274D0-19D7-468F-9C9E-7F8E2BA962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CFC512-C4E2-4B5A-82C6-68F5E265BE1A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12E2E4-FC6D-4473-90E0-3D960FC6CF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1F0B3B-B76D-4CC8-8828-056EC9F2D7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4C1573-1125-4638-B481-E8052C3178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689712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D3255-A80E-41E0-B8C1-B62350A66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29101C-CE9D-44A2-9010-180FAA62CB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022003-9122-4354-B0E0-92CBC00CD1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CFC512-C4E2-4B5A-82C6-68F5E265BE1A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6233F6-3E60-482D-A02E-E871DD07E4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9028F1-A1D7-48A7-A84D-403BC4555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4C1573-1125-4638-B481-E8052C3178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6010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07E3EF-2005-4EBB-8DB6-2EEAEC9673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E8C631-63A7-4822-AB81-622C2521BE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7CD9E0-DE69-4DE8-AC0E-83B0625A93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CFC512-C4E2-4B5A-82C6-68F5E265BE1A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0F1F38-2334-49AE-ABB9-FF3E501274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58F405-C22C-47B8-832E-350C964DEB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4C1573-1125-4638-B481-E8052C3178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4742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7/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4E3A7-135D-0C4C-A9A7-E9F09DD633C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7489536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372821-53CE-4E8F-9803-6CD8206FBC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042ADE-A0A2-4E45-8E80-C77EDA49228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E4912F-F44D-4E65-92D0-9759DDA40F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8343D6D-E781-4FC8-9CB3-B496AFE783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CFC512-C4E2-4B5A-82C6-68F5E265BE1A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90B3E2-D85D-42EC-B8C0-02CACE7583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922F02-7BA3-4099-81E3-1F28087C0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4C1573-1125-4638-B481-E8052C3178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9862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C74437-CB0D-45DB-8368-6C974DA968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E00069-BC49-44E2-8946-0C1B826915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F9D5073-8897-4C5F-8E69-FD3969F50A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61ACE74-BAB5-47AB-82EE-9DCF879E509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205445A-2B8B-4994-B841-3E467E404B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D325A50-0CDB-4F4A-AE52-77203DA202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CFC512-C4E2-4B5A-82C6-68F5E265BE1A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6DD144D-979A-45E5-AA89-CFF9B5F4B2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92A5D8B-F0D5-4455-AAE9-BFAAA694EB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4C1573-1125-4638-B481-E8052C3178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8886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424793-6809-4DBE-8CCC-6C96E8B0A7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5602A05-84C2-4EB7-9B7A-FF39783E51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CFC512-C4E2-4B5A-82C6-68F5E265BE1A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31C7F6-839D-4498-AC3D-66D919BC0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FBA0D9-4D85-41B2-93EA-1F9FD2A716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4C1573-1125-4638-B481-E8052C3178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2606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477A765-BF54-4FBA-95D6-9B4326B85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CFC512-C4E2-4B5A-82C6-68F5E265BE1A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99AA0A-9D09-40E2-AA32-9E757693E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64CCCF-C8F8-415E-8477-01390A7784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4C1573-1125-4638-B481-E8052C3178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6568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511544-076F-4C4B-81AD-89835D1D1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A7F6C4-0B5E-4FFE-8DCF-86FF5C8CC4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146AF2-BBAD-4237-9094-1C90935C19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04546F-1DC6-4C3F-BC32-FC632F081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CFC512-C4E2-4B5A-82C6-68F5E265BE1A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0CCE1E-C01D-42B9-BD78-5B2A197575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67ED91C-E443-4A8C-98F6-671E367D00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4C1573-1125-4638-B481-E8052C3178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012949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0637C7-49B3-45D1-B28C-0D50B9C447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69134ED-9FB6-4884-9358-C6DC6CD5DF9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CADDC9-5E55-4F06-A52A-1B4CD2A5BE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83D4F2-6D56-4BC8-BBB7-227DF058D6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CFC512-C4E2-4B5A-82C6-68F5E265BE1A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A63BED-955A-42C7-BB74-CBBB196E27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ED60FA-D00C-43E0-9EF9-6B94057CC9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4C1573-1125-4638-B481-E8052C3178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6689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50EC6F-8E83-4FD5-812E-1DBB250FFD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17E553-E77D-499E-962D-03D0248DB5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44CE87-4D9E-4E83-9E5C-72B7945B44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CFC512-C4E2-4B5A-82C6-68F5E265BE1A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19DF38-93CE-43B0-9D08-8BCC132F0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5C0B4F-3FF4-492D-A9B0-BE0B95B7A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4C1573-1125-4638-B481-E8052C3178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26953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488CC82-71C1-43FA-840A-46DACCB7010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220B9C7-07B9-4FE4-8828-085981C207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F11091-D9D4-4F40-B6AE-EA48147427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CFC512-C4E2-4B5A-82C6-68F5E265BE1A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56EEB8-A213-4B29-9E2A-0D6A79486E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85E1E0-EFB4-4665-B794-B13AB7DD29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4C1573-1125-4638-B481-E8052C3178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9174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7/8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4E3A7-135D-0C4C-A9A7-E9F09DD633C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4596602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7/8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4E3A7-135D-0C4C-A9A7-E9F09DD633C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5212895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7/8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4E3A7-135D-0C4C-A9A7-E9F09DD633C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7106001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7/8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4E3A7-135D-0C4C-A9A7-E9F09DD633C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512799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7/8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4E3A7-135D-0C4C-A9A7-E9F09DD633C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8833702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4E3A7-135D-0C4C-A9A7-E9F09DD633C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7/8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6986049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379D382-2C5B-4CA9-A4B0-D0D26FF0B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308943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25" imgH="424" progId="TCLayout.ActiveDocument.1">
                  <p:embed/>
                </p:oleObj>
              </mc:Choice>
              <mc:Fallback>
                <p:oleObj name="think-cell Slide" r:id="rId29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379D382-2C5B-4CA9-A4B0-D0D26FF0B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4" name="Group 43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smtClean="0"/>
              <a:pPr/>
              <a:t>7/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904E3A7-135D-0C4C-A9A7-E9F09DD633C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6387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  <p:sldLayoutId id="2147483823" r:id="rId13"/>
    <p:sldLayoutId id="2147483824" r:id="rId14"/>
    <p:sldLayoutId id="2147483825" r:id="rId15"/>
    <p:sldLayoutId id="2147483826" r:id="rId16"/>
    <p:sldLayoutId id="2147483671" r:id="rId17"/>
    <p:sldLayoutId id="2147483673" r:id="rId18"/>
    <p:sldLayoutId id="2147483650" r:id="rId19"/>
    <p:sldLayoutId id="2147483672" r:id="rId20"/>
    <p:sldLayoutId id="2147483649" r:id="rId21"/>
    <p:sldLayoutId id="2147483676" r:id="rId22"/>
    <p:sldLayoutId id="2147483668" r:id="rId23"/>
    <p:sldLayoutId id="2147483674" r:id="rId24"/>
    <p:sldLayoutId id="2147483677" r:id="rId25"/>
    <p:sldLayoutId id="2147483827" r:id="rId26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1A1DB4D-769E-49BE-B327-37DACF5A23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59921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1A1DB4D-769E-49BE-B327-37DACF5A23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9517DFD-D871-4AD8-B293-8C4BC70482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2D9E9A-275A-4136-BBCF-BA22BDFD45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AC0A9E-A843-440C-BA80-A3FE72143C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CFC512-C4E2-4B5A-82C6-68F5E265BE1A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F6473B-E09B-418F-875D-447D2B5C8C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4252C2-616C-4C98-BD59-433081275C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4C1573-1125-4638-B481-E8052C3178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925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hyperlink" Target="https://sites.psu.edu/siowfa14/2014/09/16/can-one-rotten-apple-really-spoil-the-whole-bunch/" TargetMode="Externa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chart" Target="../charts/chart3.xml"/><Relationship Id="rId18" Type="http://schemas.openxmlformats.org/officeDocument/2006/relationships/image" Target="../media/image22.png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image" Target="../media/image1.emf"/><Relationship Id="rId17" Type="http://schemas.openxmlformats.org/officeDocument/2006/relationships/image" Target="../media/image21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33.xml"/><Relationship Id="rId10" Type="http://schemas.openxmlformats.org/officeDocument/2006/relationships/slideLayout" Target="../slideLayouts/slideLayout26.xml"/><Relationship Id="rId19" Type="http://schemas.openxmlformats.org/officeDocument/2006/relationships/image" Target="../media/image20.png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38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slideLayout" Target="../slideLayouts/slideLayout28.xml"/><Relationship Id="rId18" Type="http://schemas.openxmlformats.org/officeDocument/2006/relationships/image" Target="../media/image201.png"/><Relationship Id="rId3" Type="http://schemas.openxmlformats.org/officeDocument/2006/relationships/tags" Target="../tags/tag41.xml"/><Relationship Id="rId21" Type="http://schemas.openxmlformats.org/officeDocument/2006/relationships/image" Target="../media/image25.png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2" Type="http://schemas.openxmlformats.org/officeDocument/2006/relationships/tags" Target="../tags/tag40.xml"/><Relationship Id="rId16" Type="http://schemas.openxmlformats.org/officeDocument/2006/relationships/chart" Target="../charts/chart4.xml"/><Relationship Id="rId20" Type="http://schemas.openxmlformats.org/officeDocument/2006/relationships/image" Target="../media/image220.png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image" Target="../media/image1.emf"/><Relationship Id="rId23" Type="http://schemas.openxmlformats.org/officeDocument/2006/relationships/image" Target="../media/image27.png"/><Relationship Id="rId10" Type="http://schemas.openxmlformats.org/officeDocument/2006/relationships/tags" Target="../tags/tag48.xml"/><Relationship Id="rId19" Type="http://schemas.openxmlformats.org/officeDocument/2006/relationships/image" Target="../media/image210.png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oleObject" Target="../embeddings/oleObject13.bin"/><Relationship Id="rId22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51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25.emf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26" Type="http://schemas.openxmlformats.org/officeDocument/2006/relationships/chart" Target="../charts/chart6.xml"/><Relationship Id="rId3" Type="http://schemas.openxmlformats.org/officeDocument/2006/relationships/tags" Target="../tags/tag57.xml"/><Relationship Id="rId21" Type="http://schemas.openxmlformats.org/officeDocument/2006/relationships/tags" Target="../tags/tag75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5" Type="http://schemas.openxmlformats.org/officeDocument/2006/relationships/chart" Target="../charts/chart5.xml"/><Relationship Id="rId2" Type="http://schemas.openxmlformats.org/officeDocument/2006/relationships/tags" Target="../tags/tag56.xml"/><Relationship Id="rId16" Type="http://schemas.openxmlformats.org/officeDocument/2006/relationships/tags" Target="../tags/tag70.xml"/><Relationship Id="rId20" Type="http://schemas.openxmlformats.org/officeDocument/2006/relationships/tags" Target="../tags/tag74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24" Type="http://schemas.openxmlformats.org/officeDocument/2006/relationships/image" Target="../media/image1.emf"/><Relationship Id="rId5" Type="http://schemas.openxmlformats.org/officeDocument/2006/relationships/tags" Target="../tags/tag59.xml"/><Relationship Id="rId15" Type="http://schemas.openxmlformats.org/officeDocument/2006/relationships/tags" Target="../tags/tag69.xml"/><Relationship Id="rId23" Type="http://schemas.openxmlformats.org/officeDocument/2006/relationships/oleObject" Target="../embeddings/oleObject16.bin"/><Relationship Id="rId10" Type="http://schemas.openxmlformats.org/officeDocument/2006/relationships/tags" Target="../tags/tag64.xml"/><Relationship Id="rId19" Type="http://schemas.openxmlformats.org/officeDocument/2006/relationships/tags" Target="../tags/tag73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tags" Target="../tags/tag68.xml"/><Relationship Id="rId22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76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9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slideLayout" Target="../slideLayouts/slideLayout26.xml"/><Relationship Id="rId5" Type="http://schemas.openxmlformats.org/officeDocument/2006/relationships/tags" Target="../tags/tag81.xml"/><Relationship Id="rId4" Type="http://schemas.openxmlformats.org/officeDocument/2006/relationships/tags" Target="../tags/tag80.xml"/><Relationship Id="rId9" Type="http://schemas.openxmlformats.org/officeDocument/2006/relationships/chart" Target="../charts/char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82.xml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85.xml"/><Relationship Id="rId7" Type="http://schemas.openxmlformats.org/officeDocument/2006/relationships/slideLayout" Target="../slideLayouts/slideLayout26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5" Type="http://schemas.openxmlformats.org/officeDocument/2006/relationships/tags" Target="../tags/tag87.xml"/><Relationship Id="rId10" Type="http://schemas.openxmlformats.org/officeDocument/2006/relationships/chart" Target="../charts/chart8.xml"/><Relationship Id="rId4" Type="http://schemas.openxmlformats.org/officeDocument/2006/relationships/tags" Target="../tags/tag86.xml"/><Relationship Id="rId9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26.emf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92.xml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93.xml"/><Relationship Id="rId6" Type="http://schemas.openxmlformats.org/officeDocument/2006/relationships/image" Target="../media/image32.png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0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8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16.svg"/><Relationship Id="rId4" Type="http://schemas.openxmlformats.org/officeDocument/2006/relationships/image" Target="../media/image1.emf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10" Type="http://schemas.openxmlformats.org/officeDocument/2006/relationships/chart" Target="../charts/chart1.xml"/><Relationship Id="rId4" Type="http://schemas.openxmlformats.org/officeDocument/2006/relationships/tags" Target="../tags/tag12.xml"/><Relationship Id="rId9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7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chart" Target="../charts/chart2.xml"/><Relationship Id="rId5" Type="http://schemas.openxmlformats.org/officeDocument/2006/relationships/tags" Target="../tags/tag22.xml"/><Relationship Id="rId10" Type="http://schemas.openxmlformats.org/officeDocument/2006/relationships/image" Target="../media/image1.emf"/><Relationship Id="rId4" Type="http://schemas.openxmlformats.org/officeDocument/2006/relationships/tags" Target="../tags/tag21.xml"/><Relationship Id="rId9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8.emf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2E09B65-4E71-48F1-95B4-1C3863544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9004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2E09B65-4E71-48F1-95B4-1C3863544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BF9691-67D7-4C35-A97A-35CE5A9811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4E3A7-135D-0C4C-A9A7-E9F09DD633CC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20482" name="Picture 2">
            <a:extLst>
              <a:ext uri="{FF2B5EF4-FFF2-40B4-BE49-F238E27FC236}">
                <a16:creationId xmlns:a16="http://schemas.microsoft.com/office/drawing/2014/main" id="{9CB275BC-5DEE-43E0-8803-40927E16D4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988" y="421690"/>
            <a:ext cx="5656404" cy="4807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058D32B-CB89-48DB-9BA3-A044AAD17D54}"/>
              </a:ext>
            </a:extLst>
          </p:cNvPr>
          <p:cNvSpPr txBox="1"/>
          <p:nvPr/>
        </p:nvSpPr>
        <p:spPr>
          <a:xfrm>
            <a:off x="6519548" y="3039932"/>
            <a:ext cx="309830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5A99BD"/>
                </a:solidFill>
              </a:rPr>
              <a:t>Remove or Ignore data that does not conform to your model or beliefs</a:t>
            </a:r>
          </a:p>
        </p:txBody>
      </p:sp>
      <p:sp>
        <p:nvSpPr>
          <p:cNvPr id="7" name="Multiplication Sign 6">
            <a:extLst>
              <a:ext uri="{FF2B5EF4-FFF2-40B4-BE49-F238E27FC236}">
                <a16:creationId xmlns:a16="http://schemas.microsoft.com/office/drawing/2014/main" id="{2AA35278-B992-48E0-85A5-D6A51A481C4D}"/>
              </a:ext>
            </a:extLst>
          </p:cNvPr>
          <p:cNvSpPr/>
          <p:nvPr/>
        </p:nvSpPr>
        <p:spPr>
          <a:xfrm>
            <a:off x="6519548" y="2440075"/>
            <a:ext cx="2734322" cy="3424960"/>
          </a:xfrm>
          <a:prstGeom prst="mathMultiply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7C3999-A373-4447-93FD-83E1A4312066}"/>
              </a:ext>
            </a:extLst>
          </p:cNvPr>
          <p:cNvSpPr txBox="1"/>
          <p:nvPr/>
        </p:nvSpPr>
        <p:spPr>
          <a:xfrm>
            <a:off x="475719" y="6501121"/>
            <a:ext cx="1050631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chemeClr val="bg2">
                    <a:lumMod val="9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urce: Can one rotten apple really spoil the whole bunch? | SiOWfa14 Science in Our World: Certainty and </a:t>
            </a:r>
            <a:r>
              <a:rPr lang="en-US" sz="1050" dirty="0" err="1">
                <a:solidFill>
                  <a:schemeClr val="bg2">
                    <a:lumMod val="9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t</a:t>
            </a:r>
            <a:r>
              <a:rPr lang="en-US" sz="1050" dirty="0">
                <a:solidFill>
                  <a:schemeClr val="bg2">
                    <a:lumMod val="9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(psu.edu)</a:t>
            </a:r>
            <a:endParaRPr lang="en-US" sz="1050" dirty="0">
              <a:solidFill>
                <a:schemeClr val="bg2">
                  <a:lumMod val="90000"/>
                </a:schemeClr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EE87F2E-C3A7-47CF-96F3-5688B267DCB6}"/>
              </a:ext>
            </a:extLst>
          </p:cNvPr>
          <p:cNvSpPr txBox="1"/>
          <p:nvPr/>
        </p:nvSpPr>
        <p:spPr>
          <a:xfrm>
            <a:off x="6519548" y="709048"/>
            <a:ext cx="300327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accent1"/>
                </a:solidFill>
              </a:rPr>
              <a:t>All it takes is </a:t>
            </a:r>
            <a:r>
              <a:rPr lang="en-US" sz="2800" b="1" u="sng" dirty="0">
                <a:solidFill>
                  <a:schemeClr val="accent1"/>
                </a:solidFill>
              </a:rPr>
              <a:t>one</a:t>
            </a:r>
            <a:r>
              <a:rPr lang="en-US" sz="2800" dirty="0">
                <a:solidFill>
                  <a:schemeClr val="accent1"/>
                </a:solidFill>
              </a:rPr>
              <a:t> data point to throw off the prediction</a:t>
            </a:r>
          </a:p>
        </p:txBody>
      </p:sp>
    </p:spTree>
    <p:extLst>
      <p:ext uri="{BB962C8B-B14F-4D97-AF65-F5344CB8AC3E}">
        <p14:creationId xmlns:p14="http://schemas.microsoft.com/office/powerpoint/2010/main" val="41863410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2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DFECD0-034A-487D-B0A3-FE522FBCA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548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25" imgH="424" progId="TCLayout.ActiveDocument.1">
                  <p:embed/>
                </p:oleObj>
              </mc:Choice>
              <mc:Fallback>
                <p:oleObj name="think-cell Slide" r:id="rId11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3DFECD0-034A-487D-B0A3-FE522FBCA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tangle 52">
            <a:extLst>
              <a:ext uri="{FF2B5EF4-FFF2-40B4-BE49-F238E27FC236}">
                <a16:creationId xmlns:a16="http://schemas.microsoft.com/office/drawing/2014/main" id="{133E4F83-89C6-451A-A84D-C6BC74AB13FD}"/>
              </a:ext>
            </a:extLst>
          </p:cNvPr>
          <p:cNvSpPr/>
          <p:nvPr/>
        </p:nvSpPr>
        <p:spPr>
          <a:xfrm>
            <a:off x="3713163" y="2284413"/>
            <a:ext cx="1343163" cy="32876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AE66E5F-DA93-4FBC-AD33-85348B4FC61C}"/>
              </a:ext>
            </a:extLst>
          </p:cNvPr>
          <p:cNvSpPr/>
          <p:nvPr/>
        </p:nvSpPr>
        <p:spPr>
          <a:xfrm>
            <a:off x="5114033" y="2284413"/>
            <a:ext cx="3972755" cy="32876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320096B-8FEF-DA47-B4BE-108A90B77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353" y="245060"/>
            <a:ext cx="10339349" cy="742733"/>
          </a:xfrm>
        </p:spPr>
        <p:txBody>
          <a:bodyPr vert="horz">
            <a:normAutofit/>
          </a:bodyPr>
          <a:lstStyle/>
          <a:p>
            <a:r>
              <a:rPr lang="en-US" sz="3200" b="1" dirty="0"/>
              <a:t>Need a new probability distribution?  </a:t>
            </a:r>
            <a:endParaRPr lang="en-BE" sz="3200" b="1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96717C6-8F9A-48E8-8FD7-270E7624E83D}"/>
              </a:ext>
            </a:extLst>
          </p:cNvPr>
          <p:cNvSpPr txBox="1">
            <a:spLocks/>
          </p:cNvSpPr>
          <p:nvPr/>
        </p:nvSpPr>
        <p:spPr>
          <a:xfrm>
            <a:off x="678304" y="888580"/>
            <a:ext cx="11339946" cy="68295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he steep drop at month 1 is akin to zero-inflation in count model</a:t>
            </a:r>
          </a:p>
        </p:txBody>
      </p:sp>
      <p:graphicFrame>
        <p:nvGraphicFramePr>
          <p:cNvPr id="63" name="Chart 62">
            <a:extLst>
              <a:ext uri="{FF2B5EF4-FFF2-40B4-BE49-F238E27FC236}">
                <a16:creationId xmlns:a16="http://schemas.microsoft.com/office/drawing/2014/main" id="{8A6E227F-B4E4-46E9-8490-F65A15149F5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3700581"/>
              </p:ext>
            </p:extLst>
          </p:nvPr>
        </p:nvGraphicFramePr>
        <p:xfrm>
          <a:off x="3614738" y="2284413"/>
          <a:ext cx="5572125" cy="3379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9BDC393-2CD4-4861-A617-5EBEA6E8445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616950" y="5640388"/>
            <a:ext cx="200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2CAEAF-463E-41E5-A651-75BE70856210}" type="datetime'''''''''''''''''''''''''''''''''''''5''''''''''+'''''''">
              <a:rPr lang="en-US" altLang="en-US" sz="1400" smtClean="0"/>
              <a:pPr/>
              <a:t>5+</a:t>
            </a:fld>
            <a:endParaRPr lang="en-US" sz="1400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278D294-2B91-4D64-AF35-90784FB6AAA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893050" y="5640388"/>
            <a:ext cx="1063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6251B4-F3B1-4BE2-AF78-0CF562BDB3F2}" type="datetime'''''''''4'''''''''''''''''''''''''''''''''''">
              <a:rPr lang="en-US" altLang="en-US" sz="1400" smtClean="0"/>
              <a:pPr/>
              <a:t>4</a:t>
            </a:fld>
            <a:endParaRPr lang="en-US" sz="140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8AC3CF8-79E8-4FD7-A8A4-47732261D4D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030663" y="5640388"/>
            <a:ext cx="1063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14D7A8-EE14-4969-A020-48B753878DF4}" type="datetime'''''''''''''''''''0'''''''''''''''''''''''">
              <a:rPr lang="en-US" altLang="en-US" sz="1400" smtClean="0"/>
              <a:pPr/>
              <a:t>0</a:t>
            </a:fld>
            <a:endParaRPr lang="en-US" sz="140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C9A5A5D-CE86-49E7-8383-66F42F12079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119938" y="5640388"/>
            <a:ext cx="1063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E374BA-BE3A-42C3-AA20-8D1145575F82}" type="datetime'''''''''''''3'''''''''''''''''''''''''">
              <a:rPr lang="en-US" altLang="en-US" sz="1400" smtClean="0"/>
              <a:pPr/>
              <a:t>3</a:t>
            </a:fld>
            <a:endParaRPr lang="en-US" sz="14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B6F03C3-E3E2-4B74-ADBA-2EF5C905203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575300" y="5640388"/>
            <a:ext cx="1063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09CC99-21B9-4CF1-9911-A36286F05B60}" type="datetime'''1'''''''''''''''''''''''''''''''''''''''''''''''''''''">
              <a:rPr lang="en-US" altLang="en-US" sz="1400" smtClean="0"/>
              <a:pPr/>
              <a:t>1</a:t>
            </a:fld>
            <a:endParaRPr lang="en-US" sz="14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2DD5EA4-7DDC-43BD-B160-97CB4EB6D54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348413" y="5640388"/>
            <a:ext cx="1063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1B7413-B20F-4395-A051-AA9BE1268370}" type="datetime'''''''''''''''''''''''''''''''''2'''''''''''''''">
              <a:rPr lang="en-US" altLang="en-US" sz="1400" smtClean="0"/>
              <a:pPr/>
              <a:t>2</a:t>
            </a:fld>
            <a:endParaRPr lang="en-US" sz="1400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6B103A2B-3712-4838-A3ED-B221B50B4B4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350000" y="5995988"/>
            <a:ext cx="101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K</a:t>
            </a:r>
            <a:endParaRPr lang="en-US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690164E8-82A6-4203-BD3D-278B12513D01}"/>
                  </a:ext>
                </a:extLst>
              </p:cNvPr>
              <p:cNvSpPr txBox="1"/>
              <p:nvPr/>
            </p:nvSpPr>
            <p:spPr>
              <a:xfrm>
                <a:off x="3614738" y="1584111"/>
                <a:ext cx="1804331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𝜔</m:t>
                      </m:r>
                      <m:r>
                        <a:rPr lang="en-US" sz="160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1−</m:t>
                          </m:r>
                          <m:r>
                            <a:rPr 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𝜔</m:t>
                          </m:r>
                        </m:e>
                      </m:d>
                      <m:r>
                        <a:rPr lang="en-US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e>
                      </m:d>
                      <m:r>
                        <m:rPr>
                          <m:nor/>
                        </m:rPr>
                        <a:rPr lang="en-US" sz="160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 sz="160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if</m:t>
                      </m:r>
                      <m:r>
                        <m:rPr>
                          <m:nor/>
                        </m:rPr>
                        <a:rPr lang="en-US" sz="160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𝑘</m:t>
                      </m:r>
                      <m:r>
                        <a:rPr lang="en-US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en-US" sz="1600" b="1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690164E8-82A6-4203-BD3D-278B12513D0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14738" y="1584111"/>
                <a:ext cx="1804331" cy="584775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7" name="Oval 36">
            <a:extLst>
              <a:ext uri="{FF2B5EF4-FFF2-40B4-BE49-F238E27FC236}">
                <a16:creationId xmlns:a16="http://schemas.microsoft.com/office/drawing/2014/main" id="{195F3A97-9EAE-48B6-B0D6-0C8178C226BA}"/>
              </a:ext>
            </a:extLst>
          </p:cNvPr>
          <p:cNvSpPr/>
          <p:nvPr/>
        </p:nvSpPr>
        <p:spPr>
          <a:xfrm>
            <a:off x="3150627" y="1707222"/>
            <a:ext cx="338554" cy="33855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41E5A73C-7DC3-4DED-BECB-FB3098697D7E}"/>
                  </a:ext>
                </a:extLst>
              </p:cNvPr>
              <p:cNvSpPr txBox="1"/>
              <p:nvPr/>
            </p:nvSpPr>
            <p:spPr>
              <a:xfrm>
                <a:off x="6472146" y="1584111"/>
                <a:ext cx="1804331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sz="160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1−</m:t>
                          </m:r>
                          <m:r>
                            <a:rPr lang="en-US" sz="1600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𝜔</m:t>
                          </m:r>
                        </m:e>
                      </m:d>
                      <m:r>
                        <a:rPr lang="en-US" sz="1600" i="1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en-US" sz="1600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</m:d>
                      <m:r>
                        <m:rPr>
                          <m:nor/>
                        </m:rPr>
                        <a:rPr lang="en-US" sz="160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</m:oMath>
                  </m:oMathPara>
                </a14:m>
                <a:endParaRPr lang="en-US" sz="1600" dirty="0">
                  <a:solidFill>
                    <a:schemeClr val="accent1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 sz="160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if</m:t>
                      </m:r>
                      <m:r>
                        <m:rPr>
                          <m:nor/>
                        </m:rPr>
                        <a:rPr lang="en-US" sz="160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600" i="1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𝑘</m:t>
                      </m:r>
                      <m:r>
                        <a:rPr lang="en-US" sz="1600" b="0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</m:t>
                      </m:r>
                      <m:r>
                        <a:rPr lang="en-US" sz="1600" i="1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1600" b="1" dirty="0">
                  <a:solidFill>
                    <a:schemeClr val="accent1"/>
                  </a:solidFill>
                </a:endParaRPr>
              </a:p>
            </p:txBody>
          </p:sp>
        </mc:Choice>
        <mc:Fallback xmlns="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41E5A73C-7DC3-4DED-BECB-FB3098697D7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72146" y="1584111"/>
                <a:ext cx="1804331" cy="584775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6" name="Oval 55">
            <a:extLst>
              <a:ext uri="{FF2B5EF4-FFF2-40B4-BE49-F238E27FC236}">
                <a16:creationId xmlns:a16="http://schemas.microsoft.com/office/drawing/2014/main" id="{19CA7D83-0AC9-4D4B-90AB-369370D4E7CA}"/>
              </a:ext>
            </a:extLst>
          </p:cNvPr>
          <p:cNvSpPr/>
          <p:nvPr/>
        </p:nvSpPr>
        <p:spPr>
          <a:xfrm>
            <a:off x="6179136" y="1707222"/>
            <a:ext cx="338554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176394FE-B701-41C0-BE8E-0B7416B1B4D0}"/>
                  </a:ext>
                </a:extLst>
              </p:cNvPr>
              <p:cNvSpPr txBox="1"/>
              <p:nvPr/>
            </p:nvSpPr>
            <p:spPr>
              <a:xfrm>
                <a:off x="1569162" y="1738000"/>
                <a:ext cx="1218428" cy="276999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en-US" sz="18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8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𝑋</m:t>
                        </m:r>
                        <m:r>
                          <a:rPr lang="en-US" sz="18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18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𝑘</m:t>
                        </m:r>
                      </m:e>
                    </m:d>
                  </m:oMath>
                </a14:m>
                <a:r>
                  <a:rPr lang="en-US" dirty="0"/>
                  <a:t> =</a:t>
                </a:r>
              </a:p>
            </p:txBody>
          </p:sp>
        </mc:Choice>
        <mc:Fallback xmlns=""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176394FE-B701-41C0-BE8E-0B7416B1B4D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69162" y="1738000"/>
                <a:ext cx="1218428" cy="276999"/>
              </a:xfrm>
              <a:prstGeom prst="rect">
                <a:avLst/>
              </a:prstGeom>
              <a:blipFill>
                <a:blip r:embed="rId18"/>
                <a:stretch>
                  <a:fillRect l="-6500" t="-30435" r="-3000" b="-4782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7" name="TextBox 66">
            <a:extLst>
              <a:ext uri="{FF2B5EF4-FFF2-40B4-BE49-F238E27FC236}">
                <a16:creationId xmlns:a16="http://schemas.microsoft.com/office/drawing/2014/main" id="{E7E576B4-EE7B-439C-838E-3FF5FE3423FB}"/>
              </a:ext>
            </a:extLst>
          </p:cNvPr>
          <p:cNvSpPr txBox="1"/>
          <p:nvPr/>
        </p:nvSpPr>
        <p:spPr>
          <a:xfrm>
            <a:off x="963361" y="1423934"/>
            <a:ext cx="25258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 any general count mode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Content Placeholder 3">
                <a:extLst>
                  <a:ext uri="{FF2B5EF4-FFF2-40B4-BE49-F238E27FC236}">
                    <a16:creationId xmlns:a16="http://schemas.microsoft.com/office/drawing/2014/main" id="{C705312E-768B-4799-A33E-E28C72D5B90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70442" y="2902999"/>
                <a:ext cx="2963449" cy="244186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342900" indent="-342900" algn="l" defTabSz="457200" rtl="0" eaLnBrk="1" latinLnBrk="0" hangingPunct="1">
                  <a:spcBef>
                    <a:spcPts val="1000"/>
                  </a:spcBef>
                  <a:spcAft>
                    <a:spcPts val="0"/>
                  </a:spcAft>
                  <a:buClr>
                    <a:schemeClr val="accent1"/>
                  </a:buClr>
                  <a:buSzPct val="80000"/>
                  <a:buFont typeface="Wingdings 3" charset="2"/>
                  <a:buChar char=""/>
                  <a:defRPr sz="1800" kern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457200" rtl="0" eaLnBrk="1" latinLnBrk="0" hangingPunct="1">
                  <a:spcBef>
                    <a:spcPts val="1000"/>
                  </a:spcBef>
                  <a:spcAft>
                    <a:spcPts val="0"/>
                  </a:spcAft>
                  <a:buClr>
                    <a:schemeClr val="accent1"/>
                  </a:buClr>
                  <a:buSzPct val="80000"/>
                  <a:buFont typeface="Wingdings 3" charset="2"/>
                  <a:buChar char=""/>
                  <a:defRPr sz="1600" kern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457200" rtl="0" eaLnBrk="1" latinLnBrk="0" hangingPunct="1">
                  <a:spcBef>
                    <a:spcPts val="1000"/>
                  </a:spcBef>
                  <a:spcAft>
                    <a:spcPts val="0"/>
                  </a:spcAft>
                  <a:buClr>
                    <a:schemeClr val="accent1"/>
                  </a:buClr>
                  <a:buSzPct val="80000"/>
                  <a:buFont typeface="Wingdings 3" charset="2"/>
                  <a:buChar char=""/>
                  <a:defRPr sz="1400" kern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457200" rtl="0" eaLnBrk="1" latinLnBrk="0" hangingPunct="1">
                  <a:spcBef>
                    <a:spcPts val="1000"/>
                  </a:spcBef>
                  <a:spcAft>
                    <a:spcPts val="0"/>
                  </a:spcAft>
                  <a:buClr>
                    <a:schemeClr val="accent1"/>
                  </a:buClr>
                  <a:buSzPct val="80000"/>
                  <a:buFont typeface="Wingdings 3" charset="2"/>
                  <a:buChar char=""/>
                  <a:defRPr sz="1200" kern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457200" rtl="0" eaLnBrk="1" latinLnBrk="0" hangingPunct="1">
                  <a:spcBef>
                    <a:spcPts val="1000"/>
                  </a:spcBef>
                  <a:spcAft>
                    <a:spcPts val="0"/>
                  </a:spcAft>
                  <a:buClr>
                    <a:schemeClr val="accent1"/>
                  </a:buClr>
                  <a:buSzPct val="80000"/>
                  <a:buFont typeface="Wingdings 3" charset="2"/>
                  <a:buChar char=""/>
                  <a:defRPr sz="1200" kern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457200" rtl="0" eaLnBrk="1" latinLnBrk="0" hangingPunct="1">
                  <a:spcBef>
                    <a:spcPts val="1000"/>
                  </a:spcBef>
                  <a:spcAft>
                    <a:spcPts val="0"/>
                  </a:spcAft>
                  <a:buClr>
                    <a:schemeClr val="accent1"/>
                  </a:buClr>
                  <a:buSzPct val="80000"/>
                  <a:buFont typeface="Wingdings 3" charset="2"/>
                  <a:buChar char=""/>
                  <a:defRPr sz="1200" kern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ts val="1000"/>
                  </a:spcBef>
                  <a:spcAft>
                    <a:spcPts val="0"/>
                  </a:spcAft>
                  <a:buClr>
                    <a:schemeClr val="accent1"/>
                  </a:buClr>
                  <a:buSzPct val="80000"/>
                  <a:buFont typeface="Wingdings 3" charset="2"/>
                  <a:buChar char=""/>
                  <a:defRPr sz="1200" kern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ts val="1000"/>
                  </a:spcBef>
                  <a:spcAft>
                    <a:spcPts val="0"/>
                  </a:spcAft>
                  <a:buClr>
                    <a:schemeClr val="accent1"/>
                  </a:buClr>
                  <a:buSzPct val="80000"/>
                  <a:buFont typeface="Wingdings 3" charset="2"/>
                  <a:buChar char=""/>
                  <a:defRPr sz="1200" kern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ts val="1000"/>
                  </a:spcBef>
                  <a:spcAft>
                    <a:spcPts val="0"/>
                  </a:spcAft>
                  <a:buClr>
                    <a:schemeClr val="accent1"/>
                  </a:buClr>
                  <a:buSzPct val="80000"/>
                  <a:buFont typeface="Wingdings 3" charset="2"/>
                  <a:buChar char=""/>
                  <a:defRPr sz="1200" kern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342900" marR="0" lvl="0" indent="-342900" algn="l" defTabSz="457200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>
                    <a:srgbClr val="418AB3"/>
                  </a:buClr>
                  <a:buSzPct val="80000"/>
                  <a:buFont typeface="Wingdings 3" charset="2"/>
                  <a:buChar char=""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Two behavioral ways to make 0 (e.g., purchases)</a:t>
                </a:r>
              </a:p>
              <a:p>
                <a:pPr lvl="1" indent="-342900">
                  <a:buClr>
                    <a:srgbClr val="418AB3"/>
                  </a:buClr>
                  <a:buFont typeface="+mj-lt"/>
                  <a:buAutoNum type="arabicPeriod"/>
                  <a:defRPr/>
                </a:pPr>
                <a:r>
                  <a:rPr lang="en-US" sz="1600" dirty="0">
                    <a:solidFill>
                      <a:schemeClr val="tx1"/>
                    </a:solidFill>
                  </a:rPr>
                  <a:t>Someone is a definite non-buyer, </a:t>
                </a:r>
                <a14:m>
                  <m:oMath xmlns:m="http://schemas.openxmlformats.org/officeDocument/2006/math">
                    <m:r>
                      <a:rPr lang="en-US" sz="160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𝜔</m:t>
                    </m:r>
                  </m:oMath>
                </a14:m>
                <a:endParaRPr lang="en-US" sz="1600" dirty="0">
                  <a:solidFill>
                    <a:schemeClr val="tx1"/>
                  </a:solidFill>
                </a:endParaRPr>
              </a:p>
              <a:p>
                <a:pPr lvl="1" indent="-342900">
                  <a:buClr>
                    <a:srgbClr val="418AB3"/>
                  </a:buClr>
                  <a:buFont typeface="+mj-lt"/>
                  <a:buAutoNum type="arabicPeriod"/>
                  <a:defRPr/>
                </a:pPr>
                <a:r>
                  <a:rPr lang="en-US" sz="1600" dirty="0">
                    <a:solidFill>
                      <a:schemeClr val="tx1"/>
                    </a:solidFill>
                  </a:rPr>
                  <a:t>Someone is a buyer but happens to not buy,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16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6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−</m:t>
                        </m:r>
                        <m:r>
                          <a:rPr lang="en-US" sz="16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𝜔</m:t>
                        </m:r>
                      </m:e>
                    </m:d>
                    <m:r>
                      <a:rPr lang="en-US" sz="16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𝑃</m:t>
                    </m:r>
                    <m:r>
                      <a:rPr lang="en-US" sz="16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0)</m:t>
                    </m:r>
                  </m:oMath>
                </a14:m>
                <a:endParaRPr lang="en-US" sz="1600" dirty="0">
                  <a:solidFill>
                    <a:schemeClr val="tx1"/>
                  </a:solidFill>
                </a:endParaRPr>
              </a:p>
              <a:p>
                <a:pPr marL="400050" lvl="1" indent="0">
                  <a:buClr>
                    <a:srgbClr val="418AB3"/>
                  </a:buClr>
                  <a:buNone/>
                  <a:defRPr/>
                </a:pPr>
                <a:endParaRPr lang="en-US" sz="1600" dirty="0">
                  <a:solidFill>
                    <a:schemeClr val="tx1"/>
                  </a:solidFill>
                </a:endParaRPr>
              </a:p>
              <a:p>
                <a:pPr lvl="1" indent="-342900">
                  <a:buClr>
                    <a:srgbClr val="418AB3"/>
                  </a:buClr>
                  <a:defRPr/>
                </a:pP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>
                    <a:srgbClr val="418AB3"/>
                  </a:buClr>
                  <a:buSzPct val="80000"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4" name="Content Placeholder 3">
                <a:extLst>
                  <a:ext uri="{FF2B5EF4-FFF2-40B4-BE49-F238E27FC236}">
                    <a16:creationId xmlns:a16="http://schemas.microsoft.com/office/drawing/2014/main" id="{C705312E-768B-4799-A33E-E28C72D5B90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0442" y="2902999"/>
                <a:ext cx="2963449" cy="2441868"/>
              </a:xfrm>
              <a:prstGeom prst="rect">
                <a:avLst/>
              </a:prstGeom>
              <a:blipFill>
                <a:blip r:embed="rId19"/>
                <a:stretch>
                  <a:fillRect l="-412" t="-1496" r="-2263" b="-7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96936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58AA42C-373F-4D03-B06A-BF41685FA5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4727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58AA42C-373F-4D03-B06A-BF41685FA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733ED1-3C27-4BBC-B3EA-5DB8FB66EF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F537A0B-E613-4BCB-930B-99343F2E2F01}"/>
              </a:ext>
            </a:extLst>
          </p:cNvPr>
          <p:cNvSpPr/>
          <p:nvPr/>
        </p:nvSpPr>
        <p:spPr>
          <a:xfrm>
            <a:off x="1447060" y="2418122"/>
            <a:ext cx="2517121" cy="202175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Zero Inflated </a:t>
            </a:r>
          </a:p>
          <a:p>
            <a:pPr algn="ctr"/>
            <a:r>
              <a:rPr lang="en-US" sz="2800" dirty="0">
                <a:solidFill>
                  <a:schemeClr val="tx1"/>
                </a:solidFill>
              </a:rPr>
              <a:t>Poiss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5C4DFFB-7BCD-4F69-8FCB-94F1B7759D6D}"/>
              </a:ext>
            </a:extLst>
          </p:cNvPr>
          <p:cNvSpPr/>
          <p:nvPr/>
        </p:nvSpPr>
        <p:spPr>
          <a:xfrm>
            <a:off x="6751907" y="2418122"/>
            <a:ext cx="2517121" cy="202175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One Inflated Survival</a:t>
            </a:r>
          </a:p>
        </p:txBody>
      </p:sp>
      <p:pic>
        <p:nvPicPr>
          <p:cNvPr id="10" name="Graphic 9" descr="Chevron arrows with solid fill">
            <a:extLst>
              <a:ext uri="{FF2B5EF4-FFF2-40B4-BE49-F238E27FC236}">
                <a16:creationId xmlns:a16="http://schemas.microsoft.com/office/drawing/2014/main" id="{E9AD1D62-573F-47D8-8AB6-49CEA554CE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19600" y="2702204"/>
            <a:ext cx="1476887" cy="147688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9502662-9410-4F55-852D-141103109893}"/>
              </a:ext>
            </a:extLst>
          </p:cNvPr>
          <p:cNvSpPr txBox="1"/>
          <p:nvPr/>
        </p:nvSpPr>
        <p:spPr>
          <a:xfrm>
            <a:off x="4619600" y="2503260"/>
            <a:ext cx="12982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/>
              <a:t>Inspired</a:t>
            </a:r>
          </a:p>
        </p:txBody>
      </p:sp>
    </p:spTree>
    <p:extLst>
      <p:ext uri="{BB962C8B-B14F-4D97-AF65-F5344CB8AC3E}">
        <p14:creationId xmlns:p14="http://schemas.microsoft.com/office/powerpoint/2010/main" val="604740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3FFF16-D6AE-4D4C-803D-30A3C96D0A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5778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3FFF16-D6AE-4D4C-803D-30A3C96D0A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5" name="Group 64">
            <a:extLst>
              <a:ext uri="{FF2B5EF4-FFF2-40B4-BE49-F238E27FC236}">
                <a16:creationId xmlns:a16="http://schemas.microsoft.com/office/drawing/2014/main" id="{5F4BCAE2-6F13-4515-889E-CC1CDE70D371}"/>
              </a:ext>
            </a:extLst>
          </p:cNvPr>
          <p:cNvGrpSpPr/>
          <p:nvPr/>
        </p:nvGrpSpPr>
        <p:grpSpPr>
          <a:xfrm>
            <a:off x="1423989" y="1727200"/>
            <a:ext cx="6657033" cy="3630613"/>
            <a:chOff x="2478089" y="1793875"/>
            <a:chExt cx="6657033" cy="3630613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D3945DB-FA31-4A30-BB26-73833E874C9F}"/>
                </a:ext>
              </a:extLst>
            </p:cNvPr>
            <p:cNvSpPr/>
            <p:nvPr/>
          </p:nvSpPr>
          <p:spPr>
            <a:xfrm>
              <a:off x="2478089" y="1793875"/>
              <a:ext cx="922059" cy="3630613"/>
            </a:xfrm>
            <a:prstGeom prst="rect">
              <a:avLst/>
            </a:prstGeom>
            <a:solidFill>
              <a:schemeClr val="accent2">
                <a:lumMod val="20000"/>
                <a:lumOff val="80000"/>
                <a:alpha val="50000"/>
              </a:schemeClr>
            </a:solidFill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16BFA9C5-D1E5-43A0-9D4F-0F7FAB270553}"/>
                </a:ext>
              </a:extLst>
            </p:cNvPr>
            <p:cNvSpPr/>
            <p:nvPr/>
          </p:nvSpPr>
          <p:spPr>
            <a:xfrm>
              <a:off x="3400148" y="1793875"/>
              <a:ext cx="5734974" cy="3630613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itle 6">
            <a:extLst>
              <a:ext uri="{FF2B5EF4-FFF2-40B4-BE49-F238E27FC236}">
                <a16:creationId xmlns:a16="http://schemas.microsoft.com/office/drawing/2014/main" id="{E346AC46-E798-42C8-AF2E-BC82D45CAF75}"/>
              </a:ext>
            </a:extLst>
          </p:cNvPr>
          <p:cNvSpPr txBox="1">
            <a:spLocks/>
          </p:cNvSpPr>
          <p:nvPr/>
        </p:nvSpPr>
        <p:spPr>
          <a:xfrm>
            <a:off x="222394" y="99589"/>
            <a:ext cx="10339349" cy="74273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18AB3"/>
                </a:solidFill>
                <a:effectLst/>
                <a:uLnTx/>
                <a:uFillTx/>
                <a:latin typeface="Trebuchet MS" panose="020B0603020202020204"/>
                <a:ea typeface="+mj-ea"/>
                <a:cs typeface="+mj-cs"/>
              </a:rPr>
              <a:t>Create a 1-month “inflated” survival model </a:t>
            </a:r>
            <a:endParaRPr kumimoji="0" lang="en-BE" sz="3200" b="1" i="0" u="none" strike="noStrike" kern="1200" cap="none" spc="0" normalizeH="0" baseline="0" noProof="0" dirty="0">
              <a:ln>
                <a:noFill/>
              </a:ln>
              <a:solidFill>
                <a:srgbClr val="418AB3"/>
              </a:solidFill>
              <a:effectLst/>
              <a:uLnTx/>
              <a:uFillTx/>
              <a:latin typeface="Trebuchet MS" panose="020B0603020202020204"/>
              <a:ea typeface="+mj-ea"/>
              <a:cs typeface="+mj-cs"/>
            </a:endParaRPr>
          </a:p>
        </p:txBody>
      </p:sp>
      <p:graphicFrame>
        <p:nvGraphicFramePr>
          <p:cNvPr id="188" name="Chart 187">
            <a:extLst>
              <a:ext uri="{FF2B5EF4-FFF2-40B4-BE49-F238E27FC236}">
                <a16:creationId xmlns:a16="http://schemas.microsoft.com/office/drawing/2014/main" id="{D8771955-2444-430A-9C65-1469C50A30C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0124788"/>
              </p:ext>
            </p:extLst>
          </p:nvPr>
        </p:nvGraphicFramePr>
        <p:xfrm>
          <a:off x="842963" y="1568450"/>
          <a:ext cx="7324725" cy="3835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F32D9E9A-275A-4136-BBCF-BA22BDFD455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3252788" y="5408613"/>
            <a:ext cx="90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457720-8DB8-4068-8BA4-011099A38EDB}" type="datetime'''2''''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400" dirty="0"/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F32D9E9A-275A-4136-BBCF-BA22BDFD455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338263" y="5408613"/>
            <a:ext cx="90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933440-D832-406B-AE8E-6EEB096B5167}" type="datetime'''''''''''''''''0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 dirty="0"/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F32D9E9A-275A-4136-BBCF-BA22BDFD455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295525" y="5408613"/>
            <a:ext cx="90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92B584-BAC3-4DAD-9B5B-5E8C22EE69F5}" type="datetime'''''''''''''''''''''1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400" dirty="0"/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F32D9E9A-275A-4136-BBCF-BA22BDFD455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210050" y="5408613"/>
            <a:ext cx="90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4B7EEF-F2B8-4ADD-880A-BECFAFC2E03D}" type="datetime'3''''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1400" dirty="0"/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F32D9E9A-275A-4136-BBCF-BA22BDFD455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168900" y="5408613"/>
            <a:ext cx="90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AEA537-AD24-4112-A8F6-4FB702EF4CAC}" type="datetime'''''''''''''''''''''''''''''4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400" dirty="0"/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F32D9E9A-275A-4136-BBCF-BA22BDFD455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042275" y="5408613"/>
            <a:ext cx="873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T</a:t>
            </a:r>
            <a:endParaRPr lang="en-US" sz="1400" dirty="0"/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F32D9E9A-275A-4136-BBCF-BA22BDFD455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083425" y="5408613"/>
            <a:ext cx="90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F2A51A-EC37-43F0-99A4-365838CC72F9}" type="datetime'''''''''''6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1400" dirty="0"/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F32D9E9A-275A-4136-BBCF-BA22BDFD455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126163" y="5408613"/>
            <a:ext cx="90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C1BB5F-A720-4D30-92B8-E430FC6183F3}" type="datetime'''''''''''5''''''''''''''''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1400" dirty="0"/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F32D9E9A-275A-4136-BBCF-BA22BDFD455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00075" y="3081338"/>
            <a:ext cx="192088" cy="811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Persistency</a:t>
            </a:r>
            <a:endParaRPr lang="en-US" sz="1400" dirty="0"/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F32D9E9A-275A-4136-BBCF-BA22BDFD455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700588" y="5743575"/>
            <a:ext cx="6826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i="1" dirty="0">
                <a:effectLst/>
              </a:rPr>
              <a:t>t</a:t>
            </a:r>
            <a:endParaRPr lang="en-US" sz="1600" i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9A369850-D3D9-4085-84FA-AC9D75C24B99}"/>
                  </a:ext>
                </a:extLst>
              </p:cNvPr>
              <p:cNvSpPr txBox="1"/>
              <p:nvPr/>
            </p:nvSpPr>
            <p:spPr>
              <a:xfrm>
                <a:off x="1035769" y="1099713"/>
                <a:ext cx="1700335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𝝎</m:t>
                      </m:r>
                      <m:r>
                        <a:rPr lang="en-US" sz="16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en-US" sz="16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sz="16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𝝎</m:t>
                          </m:r>
                        </m:e>
                      </m:d>
                      <m:r>
                        <a:rPr lang="en-US" sz="16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𝒇</m:t>
                      </m:r>
                      <m:d>
                        <m:dPr>
                          <m:ctrlPr>
                            <a:rPr lang="en-US" sz="16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e>
                      </m:d>
                    </m:oMath>
                  </m:oMathPara>
                </a14:m>
                <a:endParaRPr lang="en-US" sz="1600" b="1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9A369850-D3D9-4085-84FA-AC9D75C24B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5769" y="1099713"/>
                <a:ext cx="1700335" cy="338554"/>
              </a:xfrm>
              <a:prstGeom prst="rect">
                <a:avLst/>
              </a:prstGeom>
              <a:blipFill>
                <a:blip r:embed="rId18"/>
                <a:stretch>
                  <a:fillRect b="-89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7D363621-66E9-438A-B788-B3CB697B8B40}"/>
                  </a:ext>
                </a:extLst>
              </p:cNvPr>
              <p:cNvSpPr txBox="1"/>
              <p:nvPr/>
            </p:nvSpPr>
            <p:spPr>
              <a:xfrm>
                <a:off x="4248882" y="1112621"/>
                <a:ext cx="1700335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sz="1600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b="1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en-US" sz="1600" b="1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sz="1600" b="1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𝝎</m:t>
                          </m:r>
                        </m:e>
                      </m:d>
                      <m:r>
                        <a:rPr lang="en-US" sz="1600" b="1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𝒇</m:t>
                      </m:r>
                      <m:d>
                        <m:dPr>
                          <m:ctrlPr>
                            <a:rPr lang="en-US" sz="1600" b="1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𝒕</m:t>
                          </m:r>
                        </m:e>
                      </m:d>
                    </m:oMath>
                  </m:oMathPara>
                </a14:m>
                <a:endParaRPr lang="en-US" sz="1600" b="1" dirty="0">
                  <a:solidFill>
                    <a:schemeClr val="accent1"/>
                  </a:solidFill>
                </a:endParaRPr>
              </a:p>
            </p:txBody>
          </p:sp>
        </mc:Choice>
        <mc:Fallback xmlns=""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7D363621-66E9-438A-B788-B3CB697B8B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48882" y="1112621"/>
                <a:ext cx="1700335" cy="338554"/>
              </a:xfrm>
              <a:prstGeom prst="rect">
                <a:avLst/>
              </a:prstGeom>
              <a:blipFill>
                <a:blip r:embed="rId19"/>
                <a:stretch>
                  <a:fillRect b="-1090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65622B4E-9101-4D59-AA66-6F44F049122E}"/>
                  </a:ext>
                </a:extLst>
              </p:cNvPr>
              <p:cNvSpPr txBox="1"/>
              <p:nvPr/>
            </p:nvSpPr>
            <p:spPr>
              <a:xfrm>
                <a:off x="8108150" y="1148761"/>
                <a:ext cx="1700335" cy="24622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sz="16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𝝎</m:t>
                          </m:r>
                        </m:e>
                      </m:d>
                      <m:r>
                        <a:rPr lang="en-US" sz="16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𝑺</m:t>
                      </m:r>
                      <m:r>
                        <a:rPr lang="en-US" sz="16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US" sz="16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𝑻</m:t>
                      </m:r>
                      <m:r>
                        <a:rPr lang="en-US" sz="16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1600" b="1" dirty="0"/>
              </a:p>
            </p:txBody>
          </p:sp>
        </mc:Choice>
        <mc:Fallback xmlns=""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65622B4E-9101-4D59-AA66-6F44F049122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08150" y="1148761"/>
                <a:ext cx="1700335" cy="246221"/>
              </a:xfrm>
              <a:prstGeom prst="rect">
                <a:avLst/>
              </a:prstGeom>
              <a:blipFill>
                <a:blip r:embed="rId20"/>
                <a:stretch>
                  <a:fillRect b="-317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2" name="Oval 131">
            <a:extLst>
              <a:ext uri="{FF2B5EF4-FFF2-40B4-BE49-F238E27FC236}">
                <a16:creationId xmlns:a16="http://schemas.microsoft.com/office/drawing/2014/main" id="{BB2DCD38-027E-4F08-99AE-5817B0715BBB}"/>
              </a:ext>
            </a:extLst>
          </p:cNvPr>
          <p:cNvSpPr/>
          <p:nvPr/>
        </p:nvSpPr>
        <p:spPr>
          <a:xfrm>
            <a:off x="526634" y="1112621"/>
            <a:ext cx="338554" cy="33855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54C6C926-B1CE-4C51-A293-3DF355335D2A}"/>
              </a:ext>
            </a:extLst>
          </p:cNvPr>
          <p:cNvSpPr/>
          <p:nvPr/>
        </p:nvSpPr>
        <p:spPr>
          <a:xfrm>
            <a:off x="3999415" y="1112621"/>
            <a:ext cx="338554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691D549F-B8CB-42A2-8A27-3E35EEE40055}"/>
              </a:ext>
            </a:extLst>
          </p:cNvPr>
          <p:cNvSpPr/>
          <p:nvPr/>
        </p:nvSpPr>
        <p:spPr>
          <a:xfrm>
            <a:off x="7982537" y="1112621"/>
            <a:ext cx="338554" cy="338554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cxnSp>
        <p:nvCxnSpPr>
          <p:cNvPr id="144" name="Straight Arrow Connector 143">
            <a:extLst>
              <a:ext uri="{FF2B5EF4-FFF2-40B4-BE49-F238E27FC236}">
                <a16:creationId xmlns:a16="http://schemas.microsoft.com/office/drawing/2014/main" id="{FBD326C7-4793-4651-AB5C-3DE2273B11A8}"/>
              </a:ext>
            </a:extLst>
          </p:cNvPr>
          <p:cNvCxnSpPr>
            <a:cxnSpLocks/>
            <a:stCxn id="134" idx="4"/>
          </p:cNvCxnSpPr>
          <p:nvPr/>
        </p:nvCxnSpPr>
        <p:spPr>
          <a:xfrm>
            <a:off x="8151814" y="1451175"/>
            <a:ext cx="15874" cy="203497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stealth" w="lg" len="lg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46" name="TextBox 145">
            <a:extLst>
              <a:ext uri="{FF2B5EF4-FFF2-40B4-BE49-F238E27FC236}">
                <a16:creationId xmlns:a16="http://schemas.microsoft.com/office/drawing/2014/main" id="{5825F075-65F8-4E5E-BCDA-2C484A5440C5}"/>
              </a:ext>
            </a:extLst>
          </p:cNvPr>
          <p:cNvSpPr txBox="1"/>
          <p:nvPr/>
        </p:nvSpPr>
        <p:spPr>
          <a:xfrm>
            <a:off x="7843842" y="842322"/>
            <a:ext cx="150335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ensored Patients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CB10D327-3CAB-4772-840B-95D969D939EF}"/>
              </a:ext>
            </a:extLst>
          </p:cNvPr>
          <p:cNvSpPr txBox="1"/>
          <p:nvPr/>
        </p:nvSpPr>
        <p:spPr>
          <a:xfrm>
            <a:off x="4079858" y="807762"/>
            <a:ext cx="220883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ncensored Patients (t&gt;1)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5B5A24A1-4D37-4CD3-9035-9B7CD85E8720}"/>
              </a:ext>
            </a:extLst>
          </p:cNvPr>
          <p:cNvSpPr txBox="1"/>
          <p:nvPr/>
        </p:nvSpPr>
        <p:spPr>
          <a:xfrm>
            <a:off x="1034909" y="807455"/>
            <a:ext cx="220883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ncensored Patients (t=1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45495269-3E29-4F59-A432-6DB3AD60EF22}"/>
                  </a:ext>
                </a:extLst>
              </p:cNvPr>
              <p:cNvSpPr txBox="1"/>
              <p:nvPr/>
            </p:nvSpPr>
            <p:spPr>
              <a:xfrm>
                <a:off x="8461438" y="2543482"/>
                <a:ext cx="3738035" cy="95410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400" i="1" smtClean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𝜔</m:t>
                    </m:r>
                    <m:r>
                      <a:rPr lang="en-US" sz="1400" i="1" smtClean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Trebuchet MS" panose="020B0603020202020204" pitchFamily="34" charset="0"/>
                  </a:rPr>
                  <a:t>= the segment of definite 1-month only filler</a:t>
                </a:r>
                <a:endParaRPr lang="en-US" sz="1400" b="0" i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Trebuchet MS" panose="020B0603020202020204" pitchFamily="34" charset="0"/>
                  <a:ea typeface="Cambria Math" panose="02040503050406030204" pitchFamily="18" charset="0"/>
                </a:endParaRPr>
              </a:p>
              <a:p>
                <a14:m>
                  <m:oMath xmlns:m="http://schemas.openxmlformats.org/officeDocument/2006/math">
                    <m:r>
                      <a:rPr lang="en-US" sz="1400" b="0" i="1" smtClean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sz="1400" i="1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b="0" i="1" smtClean="0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</m:d>
                  </m:oMath>
                </a14:m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Trebuchet MS" panose="020B0603020202020204" pitchFamily="34" charset="0"/>
                  </a:rPr>
                  <a:t> = Probability Density Function</a:t>
                </a:r>
              </a:p>
              <a:p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Trebuchet MS" panose="020B0603020202020204" pitchFamily="34" charset="0"/>
                  </a:rPr>
                  <a:t>S(T) = Survival function</a:t>
                </a:r>
              </a:p>
            </p:txBody>
          </p:sp>
        </mc:Choice>
        <mc:Fallback xmlns=""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45495269-3E29-4F59-A432-6DB3AD60EF2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61438" y="2543482"/>
                <a:ext cx="3738035" cy="954107"/>
              </a:xfrm>
              <a:prstGeom prst="rect">
                <a:avLst/>
              </a:prstGeom>
              <a:blipFill>
                <a:blip r:embed="rId21"/>
                <a:stretch>
                  <a:fillRect l="-489" t="-1911" b="-509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66" name="Table 166">
                <a:extLst>
                  <a:ext uri="{FF2B5EF4-FFF2-40B4-BE49-F238E27FC236}">
                    <a16:creationId xmlns:a16="http://schemas.microsoft.com/office/drawing/2014/main" id="{5CDB616A-BC2B-4254-BF98-22F6F1F842A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252750437"/>
                  </p:ext>
                </p:extLst>
              </p:nvPr>
            </p:nvGraphicFramePr>
            <p:xfrm>
              <a:off x="8321091" y="3790950"/>
              <a:ext cx="3738035" cy="1259777"/>
            </p:xfrm>
            <a:graphic>
              <a:graphicData uri="http://schemas.openxmlformats.org/drawingml/2006/table">
                <a:tbl>
                  <a:tblPr firstRow="1" bandRow="1">
                    <a:tableStyleId>{073A0DAA-6AF3-43AB-8588-CEC1D06C72B9}</a:tableStyleId>
                  </a:tblPr>
                  <a:tblGrid>
                    <a:gridCol w="2131759">
                      <a:extLst>
                        <a:ext uri="{9D8B030D-6E8A-4147-A177-3AD203B41FA5}">
                          <a16:colId xmlns:a16="http://schemas.microsoft.com/office/drawing/2014/main" val="2087075740"/>
                        </a:ext>
                      </a:extLst>
                    </a:gridCol>
                    <a:gridCol w="1606276">
                      <a:extLst>
                        <a:ext uri="{9D8B030D-6E8A-4147-A177-3AD203B41FA5}">
                          <a16:colId xmlns:a16="http://schemas.microsoft.com/office/drawing/2014/main" val="1744228178"/>
                        </a:ext>
                      </a:extLst>
                    </a:gridCol>
                  </a:tblGrid>
                  <a:tr h="370840">
                    <a:tc gridSpan="2"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>
                              <a:latin typeface="Trebuchet MS" panose="020B0603020202020204" pitchFamily="34" charset="0"/>
                            </a:rPr>
                            <a:t>Likelihood Function</a:t>
                          </a:r>
                        </a:p>
                      </a:txBody>
                      <a:tcPr>
                        <a:solidFill>
                          <a:schemeClr val="bg2">
                            <a:lumMod val="75000"/>
                          </a:schemeClr>
                        </a:solidFill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663735907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>
                              <a:latin typeface="Trebuchet MS" panose="020B0603020202020204" pitchFamily="34" charset="0"/>
                            </a:rPr>
                            <a:t>Uncensored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>
                              <a:latin typeface="Trebuchet MS" panose="020B0603020202020204" pitchFamily="34" charset="0"/>
                            </a:rPr>
                            <a:t>Censored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819226336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eqArr>
                                  <m:eqArrPr>
                                    <m:ctrlPr>
                                      <a:rPr lang="en-US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eqArrPr>
                                  <m:e>
                                    <m:r>
                                      <a:rPr lang="en-US" sz="140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𝜔</m:t>
                                    </m:r>
                                    <m:r>
                                      <a:rPr lang="en-US" sz="140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d>
                                      <m:dPr>
                                        <m:ctrlPr>
                                          <a:rPr lang="en-US" sz="14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140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1−</m:t>
                                        </m:r>
                                        <m:r>
                                          <a:rPr lang="en-US" sz="140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𝜔</m:t>
                                        </m:r>
                                      </m:e>
                                    </m:d>
                                    <m:r>
                                      <a:rPr lang="en-US" sz="1400" b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𝑓</m:t>
                                    </m:r>
                                    <m:d>
                                      <m:dPr>
                                        <m:ctrlPr>
                                          <a:rPr lang="en-US" sz="14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1400" b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e>
                                    </m:d>
                                    <m:r>
                                      <m:rPr>
                                        <m:nor/>
                                      </m:rPr>
                                      <a:rPr lang="en-US" sz="1400" b="0" smtClean="0">
                                        <a:solidFill>
                                          <a:schemeClr val="tx1"/>
                                        </a:solidFill>
                                        <a:latin typeface="Trebuchet MS" panose="020B0603020202020204" pitchFamily="34" charset="0"/>
                                      </a:rPr>
                                      <m:t>, 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en-US" sz="1400" b="0" smtClean="0">
                                        <a:solidFill>
                                          <a:schemeClr val="tx1"/>
                                        </a:solidFill>
                                        <a:latin typeface="Trebuchet MS" panose="020B0603020202020204" pitchFamily="34" charset="0"/>
                                      </a:rPr>
                                      <m:t>if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en-US" sz="1400" b="0" smtClean="0">
                                        <a:solidFill>
                                          <a:schemeClr val="tx1"/>
                                        </a:solidFill>
                                        <a:latin typeface="Trebuchet MS" panose="020B0603020202020204" pitchFamily="34" charset="0"/>
                                      </a:rPr>
                                      <m:t> </m:t>
                                    </m:r>
                                    <m:r>
                                      <a:rPr lang="en-US" sz="1400" b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en-US" sz="1400" b="0" i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=</m:t>
                                    </m:r>
                                    <m:r>
                                      <a:rPr lang="en-US" sz="1400" b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e>
                                  <m:e>
                                    <m:d>
                                      <m:dPr>
                                        <m:ctrlPr>
                                          <a:rPr lang="en-US" sz="14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140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1−</m:t>
                                        </m:r>
                                        <m:r>
                                          <a:rPr lang="en-US" sz="140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𝜔</m:t>
                                        </m:r>
                                      </m:e>
                                    </m:d>
                                    <m:r>
                                      <a:rPr lang="en-US" sz="1400" b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𝑓</m:t>
                                    </m:r>
                                    <m:d>
                                      <m:dPr>
                                        <m:ctrlPr>
                                          <a:rPr lang="en-US" sz="14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1400" b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</m:d>
                                    <m:r>
                                      <m:rPr>
                                        <m:nor/>
                                      </m:rPr>
                                      <a:rPr lang="en-US" sz="1400" b="0" smtClean="0">
                                        <a:solidFill>
                                          <a:schemeClr val="tx1"/>
                                        </a:solidFill>
                                        <a:latin typeface="Trebuchet MS" panose="020B0603020202020204" pitchFamily="34" charset="0"/>
                                      </a:rPr>
                                      <m:t>, 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en-US" sz="1400" b="0" smtClean="0">
                                        <a:solidFill>
                                          <a:schemeClr val="tx1"/>
                                        </a:solidFill>
                                        <a:latin typeface="Trebuchet MS" panose="020B0603020202020204" pitchFamily="34" charset="0"/>
                                      </a:rPr>
                                      <m:t>if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en-US" sz="1400" b="0" smtClean="0">
                                        <a:solidFill>
                                          <a:schemeClr val="tx1"/>
                                        </a:solidFill>
                                        <a:latin typeface="Trebuchet MS" panose="020B0603020202020204" pitchFamily="34" charset="0"/>
                                      </a:rPr>
                                      <m:t> </m:t>
                                    </m:r>
                                    <m:r>
                                      <a:rPr lang="en-US" sz="1400" b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en-US" sz="1400" b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&gt;1</m:t>
                                    </m:r>
                                  </m:e>
                                </m:eqArr>
                              </m:oMath>
                            </m:oMathPara>
                          </a14:m>
                          <a:endParaRPr lang="en-US" sz="1400" dirty="0">
                            <a:latin typeface="Trebuchet MS" panose="020B060302020202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en-US" sz="14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40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1−</m:t>
                                    </m:r>
                                    <m:r>
                                      <a:rPr lang="en-US" sz="140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𝜔</m:t>
                                    </m:r>
                                  </m:e>
                                </m:d>
                                <m:r>
                                  <a:rPr lang="en-US" sz="14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𝑆</m:t>
                                </m:r>
                                <m:d>
                                  <m:dPr>
                                    <m:ctrlPr>
                                      <a:rPr lang="en-US" sz="14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40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</m:d>
                              </m:oMath>
                            </m:oMathPara>
                          </a14:m>
                          <a:endParaRPr lang="en-US" sz="1400" dirty="0">
                            <a:latin typeface="Trebuchet MS" panose="020B0603020202020204" pitchFamily="34" charset="0"/>
                          </a:endParaRP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875564993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66" name="Table 166">
                <a:extLst>
                  <a:ext uri="{FF2B5EF4-FFF2-40B4-BE49-F238E27FC236}">
                    <a16:creationId xmlns:a16="http://schemas.microsoft.com/office/drawing/2014/main" id="{5CDB616A-BC2B-4254-BF98-22F6F1F842A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252750437"/>
                  </p:ext>
                </p:extLst>
              </p:nvPr>
            </p:nvGraphicFramePr>
            <p:xfrm>
              <a:off x="8321091" y="3790950"/>
              <a:ext cx="3738035" cy="1259777"/>
            </p:xfrm>
            <a:graphic>
              <a:graphicData uri="http://schemas.openxmlformats.org/drawingml/2006/table">
                <a:tbl>
                  <a:tblPr firstRow="1" bandRow="1">
                    <a:tableStyleId>{073A0DAA-6AF3-43AB-8588-CEC1D06C72B9}</a:tableStyleId>
                  </a:tblPr>
                  <a:tblGrid>
                    <a:gridCol w="2131759">
                      <a:extLst>
                        <a:ext uri="{9D8B030D-6E8A-4147-A177-3AD203B41FA5}">
                          <a16:colId xmlns:a16="http://schemas.microsoft.com/office/drawing/2014/main" val="2087075740"/>
                        </a:ext>
                      </a:extLst>
                    </a:gridCol>
                    <a:gridCol w="1606276">
                      <a:extLst>
                        <a:ext uri="{9D8B030D-6E8A-4147-A177-3AD203B41FA5}">
                          <a16:colId xmlns:a16="http://schemas.microsoft.com/office/drawing/2014/main" val="1744228178"/>
                        </a:ext>
                      </a:extLst>
                    </a:gridCol>
                  </a:tblGrid>
                  <a:tr h="370840">
                    <a:tc gridSpan="2"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>
                              <a:latin typeface="Trebuchet MS" panose="020B0603020202020204" pitchFamily="34" charset="0"/>
                            </a:rPr>
                            <a:t>Likelihood Function</a:t>
                          </a:r>
                        </a:p>
                      </a:txBody>
                      <a:tcPr>
                        <a:solidFill>
                          <a:schemeClr val="bg2">
                            <a:lumMod val="75000"/>
                          </a:schemeClr>
                        </a:solidFill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663735907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>
                              <a:latin typeface="Trebuchet MS" panose="020B0603020202020204" pitchFamily="34" charset="0"/>
                            </a:rPr>
                            <a:t>Uncensored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>
                              <a:latin typeface="Trebuchet MS" panose="020B0603020202020204" pitchFamily="34" charset="0"/>
                            </a:rPr>
                            <a:t>Censored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819226336"/>
                      </a:ext>
                    </a:extLst>
                  </a:tr>
                  <a:tr h="518097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22"/>
                          <a:stretch>
                            <a:fillRect l="-571" t="-144186" r="-76571" b="-581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22"/>
                          <a:stretch>
                            <a:fillRect l="-133333" t="-144186" r="-1515" b="-5814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2875564993"/>
                      </a:ext>
                    </a:extLst>
                  </a:tr>
                </a:tbl>
              </a:graphicData>
            </a:graphic>
          </p:graphicFrame>
        </mc:Fallback>
      </mc:AlternateContent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75300F3E-33DC-448F-92FA-C9E06BF99D11}"/>
              </a:ext>
            </a:extLst>
          </p:cNvPr>
          <p:cNvCxnSpPr/>
          <p:nvPr/>
        </p:nvCxnSpPr>
        <p:spPr>
          <a:xfrm>
            <a:off x="2386013" y="1606550"/>
            <a:ext cx="5596524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03B9C9C8-09BB-4955-8D59-FC12DC4F804E}"/>
              </a:ext>
            </a:extLst>
          </p:cNvPr>
          <p:cNvCxnSpPr>
            <a:cxnSpLocks/>
          </p:cNvCxnSpPr>
          <p:nvPr/>
        </p:nvCxnSpPr>
        <p:spPr>
          <a:xfrm>
            <a:off x="1428751" y="1606550"/>
            <a:ext cx="804863" cy="0"/>
          </a:xfrm>
          <a:prstGeom prst="line">
            <a:avLst/>
          </a:prstGeom>
          <a:ln w="952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83" name="TextBox 182">
                <a:extLst>
                  <a:ext uri="{FF2B5EF4-FFF2-40B4-BE49-F238E27FC236}">
                    <a16:creationId xmlns:a16="http://schemas.microsoft.com/office/drawing/2014/main" id="{687B7FB1-8FBA-49EA-8AA6-243BA8E3DCD7}"/>
                  </a:ext>
                </a:extLst>
              </p:cNvPr>
              <p:cNvSpPr txBox="1"/>
              <p:nvPr/>
            </p:nvSpPr>
            <p:spPr>
              <a:xfrm>
                <a:off x="1" y="5970716"/>
                <a:ext cx="12199472" cy="523220"/>
              </a:xfrm>
              <a:prstGeom prst="rect">
                <a:avLst/>
              </a:prstGeom>
              <a:solidFill>
                <a:schemeClr val="accent5"/>
              </a:solidFill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2800" dirty="0">
                    <a:solidFill>
                      <a:schemeClr val="bg1"/>
                    </a:solidFill>
                    <a:latin typeface="Trebuchet MS" panose="020B0603020202020204" pitchFamily="34" charset="0"/>
                  </a:rPr>
                  <a:t>Now we just need to pick</a:t>
                </a:r>
                <a14:m>
                  <m:oMath xmlns:m="http://schemas.openxmlformats.org/officeDocument/2006/math">
                    <m:r>
                      <a:rPr lang="en-US" sz="2800" b="0" i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28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sz="28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28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</m:d>
                  </m:oMath>
                </a14:m>
                <a:r>
                  <a:rPr lang="en-US" sz="2800" dirty="0">
                    <a:solidFill>
                      <a:schemeClr val="bg1"/>
                    </a:solidFill>
                    <a:latin typeface="Trebuchet MS" panose="020B0603020202020204" pitchFamily="34" charset="0"/>
                  </a:rPr>
                  <a:t>, and everything will fall in place</a:t>
                </a:r>
              </a:p>
            </p:txBody>
          </p:sp>
        </mc:Choice>
        <mc:Fallback xmlns="">
          <p:sp>
            <p:nvSpPr>
              <p:cNvPr id="183" name="TextBox 182">
                <a:extLst>
                  <a:ext uri="{FF2B5EF4-FFF2-40B4-BE49-F238E27FC236}">
                    <a16:creationId xmlns:a16="http://schemas.microsoft.com/office/drawing/2014/main" id="{687B7FB1-8FBA-49EA-8AA6-243BA8E3DC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" y="5970716"/>
                <a:ext cx="12199472" cy="523220"/>
              </a:xfrm>
              <a:prstGeom prst="rect">
                <a:avLst/>
              </a:prstGeom>
              <a:blipFill>
                <a:blip r:embed="rId23"/>
                <a:stretch>
                  <a:fillRect t="-10465" b="-325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4" name="TextBox 183">
            <a:extLst>
              <a:ext uri="{FF2B5EF4-FFF2-40B4-BE49-F238E27FC236}">
                <a16:creationId xmlns:a16="http://schemas.microsoft.com/office/drawing/2014/main" id="{30361702-D5EC-45BE-A624-6CDE96396C98}"/>
              </a:ext>
            </a:extLst>
          </p:cNvPr>
          <p:cNvSpPr txBox="1"/>
          <p:nvPr/>
        </p:nvSpPr>
        <p:spPr>
          <a:xfrm>
            <a:off x="1448771" y="2854277"/>
            <a:ext cx="81061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ne Inflated</a:t>
            </a:r>
          </a:p>
        </p:txBody>
      </p:sp>
    </p:spTree>
    <p:extLst>
      <p:ext uri="{BB962C8B-B14F-4D97-AF65-F5344CB8AC3E}">
        <p14:creationId xmlns:p14="http://schemas.microsoft.com/office/powerpoint/2010/main" val="16654881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E1A9C43-F518-403C-9FE9-B200A4B871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8545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E1A9C43-F518-403C-9FE9-B200A4B871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4348D4D-3DC6-48A0-B8A8-0F89BCFB63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027" y="92075"/>
            <a:ext cx="8596668" cy="1320800"/>
          </a:xfrm>
        </p:spPr>
        <p:txBody>
          <a:bodyPr vert="horz"/>
          <a:lstStyle/>
          <a:p>
            <a:r>
              <a:rPr lang="en-US" sz="3600" b="1" dirty="0"/>
              <a:t>Our recommendation for </a:t>
            </a:r>
            <a:r>
              <a:rPr lang="en-US" sz="3600" b="1" i="1" dirty="0"/>
              <a:t>f(t): </a:t>
            </a:r>
            <a:br>
              <a:rPr lang="en-US" sz="3600" b="1" i="1" dirty="0"/>
            </a:br>
            <a:r>
              <a:rPr lang="en-US" sz="3600" b="1" i="1" dirty="0"/>
              <a:t>Exponential Gamma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876AFE-D42D-4BC9-A64A-58CB0D5FA2E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Content Placeholder 3">
                <a:extLst>
                  <a:ext uri="{FF2B5EF4-FFF2-40B4-BE49-F238E27FC236}">
                    <a16:creationId xmlns:a16="http://schemas.microsoft.com/office/drawing/2014/main" id="{A2BEF5FD-E0FC-4208-A9EE-F4C8CBDC1C27}"/>
                  </a:ext>
                </a:extLst>
              </p:cNvPr>
              <p:cNvSpPr>
                <a:spLocks noGrp="1"/>
              </p:cNvSpPr>
              <p:nvPr>
                <p:ph sz="quarter" idx="12"/>
              </p:nvPr>
            </p:nvSpPr>
            <p:spPr>
              <a:xfrm>
                <a:off x="426027" y="1412875"/>
                <a:ext cx="8596668" cy="4695825"/>
              </a:xfrm>
            </p:spPr>
            <p:txBody>
              <a:bodyPr/>
              <a:lstStyle/>
              <a:p>
                <a:r>
                  <a:rPr lang="en-US" sz="1800" dirty="0">
                    <a:solidFill>
                      <a:schemeClr val="tx1"/>
                    </a:solidFill>
                  </a:rPr>
                  <a:t>The Exponential-Gamma distribution, also known as the Lomax distribution or the Pareto Type II distribution is recommended:</a:t>
                </a:r>
              </a:p>
              <a:p>
                <a:endParaRPr lang="en-US" sz="1800" dirty="0">
                  <a:solidFill>
                    <a:schemeClr val="tx1"/>
                  </a:solidFill>
                </a:endParaRPr>
              </a:p>
              <a:p>
                <a:endParaRPr lang="en-US" dirty="0">
                  <a:solidFill>
                    <a:schemeClr val="tx1"/>
                  </a:solidFill>
                </a:endParaRPr>
              </a:p>
              <a:p>
                <a:endParaRPr lang="en-US" sz="1800" dirty="0">
                  <a:solidFill>
                    <a:schemeClr val="tx1"/>
                  </a:solidFill>
                </a:endParaRPr>
              </a:p>
              <a:p>
                <a:pPr marL="0" indent="0">
                  <a:buNone/>
                </a:pPr>
                <a:endParaRPr lang="en-US" dirty="0">
                  <a:solidFill>
                    <a:schemeClr val="tx1"/>
                  </a:solidFill>
                </a:endParaRPr>
              </a:p>
              <a:p>
                <a:r>
                  <a:rPr lang="en-US" sz="1800" dirty="0">
                    <a:solidFill>
                      <a:schemeClr val="tx1"/>
                    </a:solidFill>
                  </a:rPr>
                  <a:t>Appealing Bayesian and behavioral explanations:</a:t>
                </a:r>
              </a:p>
              <a:p>
                <a:pPr marL="857250" lvl="1" indent="-457200">
                  <a:buAutoNum type="arabicPeriod"/>
                </a:pPr>
                <a:r>
                  <a:rPr lang="en-US" dirty="0">
                    <a:solidFill>
                      <a:schemeClr val="tx1"/>
                    </a:solidFill>
                  </a:rPr>
                  <a:t>Individual lifetime ~ exponential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chemeClr val="tx1"/>
                    </a:solidFill>
                  </a:rPr>
                  <a:t>)</a:t>
                </a:r>
              </a:p>
              <a:p>
                <a:pPr marL="857250" lvl="1" indent="-457200">
                  <a:buAutoNum type="arabicPeriod"/>
                </a:pPr>
                <a:r>
                  <a:rPr lang="en-US" dirty="0">
                    <a:solidFill>
                      <a:schemeClr val="tx1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chemeClr val="tx1"/>
                    </a:solidFill>
                  </a:rPr>
                  <a:t> ~ Gamma(</a:t>
                </a:r>
                <a:r>
                  <a:rPr lang="en-US" i="1" dirty="0">
                    <a:solidFill>
                      <a:schemeClr val="tx1"/>
                    </a:solidFill>
                  </a:rPr>
                  <a:t>r, </a:t>
                </a:r>
                <a:r>
                  <a:rPr lang="el-GR" i="1" dirty="0">
                    <a:solidFill>
                      <a:schemeClr val="tx1"/>
                    </a:solidFill>
                  </a:rPr>
                  <a:t>α</a:t>
                </a:r>
                <a:r>
                  <a:rPr lang="en-US" dirty="0">
                    <a:solidFill>
                      <a:schemeClr val="tx1"/>
                    </a:solidFill>
                  </a:rPr>
                  <a:t>), the prior distribution, for heterogeneity </a:t>
                </a:r>
              </a:p>
              <a:p>
                <a:r>
                  <a:rPr lang="en-US" sz="1800" dirty="0">
                    <a:solidFill>
                      <a:schemeClr val="tx1"/>
                    </a:solidFill>
                  </a:rPr>
                  <a:t>We can estimate all the parameters via Maximum Likelihood (MLE), which gives the </a:t>
                </a:r>
                <a:r>
                  <a:rPr lang="en-US" sz="1800" b="1" dirty="0">
                    <a:solidFill>
                      <a:schemeClr val="tx1"/>
                    </a:solidFill>
                  </a:rPr>
                  <a:t>empirical</a:t>
                </a:r>
                <a:r>
                  <a:rPr lang="en-US" sz="1800" dirty="0">
                    <a:solidFill>
                      <a:schemeClr val="tx1"/>
                    </a:solidFill>
                  </a:rPr>
                  <a:t> </a:t>
                </a:r>
                <a:r>
                  <a:rPr lang="en-US" sz="1800" b="1" dirty="0">
                    <a:solidFill>
                      <a:schemeClr val="tx1"/>
                    </a:solidFill>
                  </a:rPr>
                  <a:t>Bayes estimator</a:t>
                </a:r>
                <a:r>
                  <a:rPr lang="en-US" sz="1800" dirty="0">
                    <a:solidFill>
                      <a:schemeClr val="tx1"/>
                    </a:solidFill>
                  </a:rPr>
                  <a:t>!</a:t>
                </a:r>
                <a:endParaRPr lang="en-US" dirty="0">
                  <a:solidFill>
                    <a:srgbClr val="354B96"/>
                  </a:solidFill>
                </a:endParaRPr>
              </a:p>
              <a:p>
                <a:endParaRPr lang="en-US" sz="1800" dirty="0">
                  <a:solidFill>
                    <a:schemeClr val="tx1"/>
                  </a:solidFill>
                </a:endParaRPr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4" name="Content Placeholder 3">
                <a:extLst>
                  <a:ext uri="{FF2B5EF4-FFF2-40B4-BE49-F238E27FC236}">
                    <a16:creationId xmlns:a16="http://schemas.microsoft.com/office/drawing/2014/main" id="{A2BEF5FD-E0FC-4208-A9EE-F4C8CBDC1C2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xfrm>
                <a:off x="426027" y="1412875"/>
                <a:ext cx="8596668" cy="4695825"/>
              </a:xfrm>
              <a:blipFill>
                <a:blip r:embed="rId5"/>
                <a:stretch>
                  <a:fillRect l="-213" t="-909" r="-5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8" name="Table 11">
                <a:extLst>
                  <a:ext uri="{FF2B5EF4-FFF2-40B4-BE49-F238E27FC236}">
                    <a16:creationId xmlns:a16="http://schemas.microsoft.com/office/drawing/2014/main" id="{65078BFE-4DEF-49A1-B260-4CB37A9BBEE4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162815619"/>
                  </p:ext>
                </p:extLst>
              </p:nvPr>
            </p:nvGraphicFramePr>
            <p:xfrm>
              <a:off x="1286275" y="2403429"/>
              <a:ext cx="8128000" cy="1004062"/>
            </p:xfrm>
            <a:graphic>
              <a:graphicData uri="http://schemas.openxmlformats.org/drawingml/2006/table">
                <a:tbl>
                  <a:tblPr firstRow="1" bandRow="1">
                    <a:tableStyleId>{073A0DAA-6AF3-43AB-8588-CEC1D06C72B9}</a:tableStyleId>
                  </a:tblPr>
                  <a:tblGrid>
                    <a:gridCol w="2032000">
                      <a:extLst>
                        <a:ext uri="{9D8B030D-6E8A-4147-A177-3AD203B41FA5}">
                          <a16:colId xmlns:a16="http://schemas.microsoft.com/office/drawing/2014/main" val="1650658119"/>
                        </a:ext>
                      </a:extLst>
                    </a:gridCol>
                    <a:gridCol w="2032000">
                      <a:extLst>
                        <a:ext uri="{9D8B030D-6E8A-4147-A177-3AD203B41FA5}">
                          <a16:colId xmlns:a16="http://schemas.microsoft.com/office/drawing/2014/main" val="2337753444"/>
                        </a:ext>
                      </a:extLst>
                    </a:gridCol>
                    <a:gridCol w="2032000">
                      <a:extLst>
                        <a:ext uri="{9D8B030D-6E8A-4147-A177-3AD203B41FA5}">
                          <a16:colId xmlns:a16="http://schemas.microsoft.com/office/drawing/2014/main" val="406046514"/>
                        </a:ext>
                      </a:extLst>
                    </a:gridCol>
                    <a:gridCol w="2032000">
                      <a:extLst>
                        <a:ext uri="{9D8B030D-6E8A-4147-A177-3AD203B41FA5}">
                          <a16:colId xmlns:a16="http://schemas.microsoft.com/office/drawing/2014/main" val="2214480428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f(t)</a:t>
                          </a:r>
                        </a:p>
                      </a:txBody>
                      <a:tcPr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S(t)</a:t>
                          </a:r>
                        </a:p>
                      </a:txBody>
                      <a:tcPr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Mean</a:t>
                          </a:r>
                        </a:p>
                      </a:txBody>
                      <a:tcPr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Median</a:t>
                          </a:r>
                        </a:p>
                      </a:txBody>
                      <a:tcPr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93253442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f>
                                  <m:fPr>
                                    <m:ctrlPr>
                                      <a:rPr lang="en-US" sz="18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en-US" sz="1800" b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𝑟</m:t>
                                    </m:r>
                                  </m:num>
                                  <m:den>
                                    <m:r>
                                      <a:rPr lang="en-US" sz="180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𝛼</m:t>
                                    </m:r>
                                  </m:den>
                                </m:f>
                                <m:sSup>
                                  <m:sSupPr>
                                    <m:ctrlPr>
                                      <a:rPr lang="en-US" sz="18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d>
                                      <m:dPr>
                                        <m:begChr m:val="["/>
                                        <m:endChr m:val="]"/>
                                        <m:ctrlPr>
                                          <a:rPr lang="en-US" sz="180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f>
                                          <m:fPr>
                                            <m:ctrlPr>
                                              <a:rPr lang="en-US" sz="1800" i="1" smtClean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fPr>
                                          <m:num>
                                            <m:r>
                                              <a:rPr lang="en-US" sz="1800" smtClean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𝛼</m:t>
                                            </m:r>
                                          </m:num>
                                          <m:den>
                                            <m:r>
                                              <a:rPr lang="en-US" sz="1800" smtClean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𝛼</m:t>
                                            </m:r>
                                            <m:r>
                                              <a:rPr lang="en-US" sz="1800" b="0" smtClean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+</m:t>
                                            </m:r>
                                            <m:r>
                                              <a:rPr lang="en-US" sz="1800" b="0" smtClean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den>
                                        </m:f>
                                      </m:e>
                                    </m:d>
                                  </m:e>
                                  <m:sup>
                                    <m:r>
                                      <a:rPr lang="en-US" sz="1800" b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𝑟</m:t>
                                    </m:r>
                                    <m:r>
                                      <a:rPr lang="en-US" sz="1800" b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sz="1800" dirty="0"/>
                        </a:p>
                      </a:txBody>
                      <a:tcPr>
                        <a:solidFill>
                          <a:schemeClr val="tx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18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d>
                                      <m:dPr>
                                        <m:begChr m:val="["/>
                                        <m:endChr m:val="]"/>
                                        <m:ctrlPr>
                                          <a:rPr lang="en-US" sz="180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f>
                                          <m:fPr>
                                            <m:ctrlPr>
                                              <a:rPr lang="en-US" sz="1800" i="1" smtClean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fPr>
                                          <m:num>
                                            <m:r>
                                              <a:rPr lang="en-US" sz="1800" smtClean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𝛼</m:t>
                                            </m:r>
                                          </m:num>
                                          <m:den>
                                            <m:r>
                                              <a:rPr lang="en-US" sz="1800" smtClean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𝛼</m:t>
                                            </m:r>
                                            <m:r>
                                              <a:rPr lang="en-US" sz="1800" b="0" smtClean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+</m:t>
                                            </m:r>
                                            <m:r>
                                              <a:rPr lang="en-US" sz="1800" b="0" smtClean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𝑡</m:t>
                                            </m:r>
                                          </m:den>
                                        </m:f>
                                      </m:e>
                                    </m:d>
                                  </m:e>
                                  <m:sup>
                                    <m:r>
                                      <a:rPr lang="en-US" sz="1800" b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𝑟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sz="1800" dirty="0"/>
                        </a:p>
                      </a:txBody>
                      <a:tcPr>
                        <a:solidFill>
                          <a:schemeClr val="tx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f>
                                  <m:fPr>
                                    <m:ctrlPr>
                                      <a:rPr lang="en-US" sz="18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en-US" sz="180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𝛼</m:t>
                                    </m:r>
                                  </m:num>
                                  <m:den>
                                    <m:r>
                                      <a:rPr lang="en-US" sz="180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𝑟</m:t>
                                    </m:r>
                                    <m:r>
                                      <a:rPr lang="en-US" sz="180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−1</m:t>
                                    </m:r>
                                  </m:den>
                                </m:f>
                              </m:oMath>
                            </m:oMathPara>
                          </a14:m>
                          <a:endParaRPr lang="en-US" sz="1800" dirty="0"/>
                        </a:p>
                      </a:txBody>
                      <a:tcPr>
                        <a:solidFill>
                          <a:schemeClr val="tx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457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en-US" sz="180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en-US" sz="18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en-US" sz="180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e>
                                      <m:sup>
                                        <m:f>
                                          <m:fPr>
                                            <m:type m:val="skw"/>
                                            <m:ctrlPr>
                                              <a:rPr lang="en-US" sz="18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fPr>
                                          <m:num>
                                            <m:r>
                                              <a:rPr lang="en-US" sz="180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1</m:t>
                                            </m:r>
                                          </m:num>
                                          <m:den>
                                            <m:r>
                                              <a:rPr lang="en-US" sz="180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𝑟</m:t>
                                            </m:r>
                                          </m:den>
                                        </m:f>
                                      </m:sup>
                                    </m:sSup>
                                    <m:r>
                                      <a:rPr lang="en-US" sz="180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−1</m:t>
                                    </m:r>
                                  </m:e>
                                </m:d>
                                <m:r>
                                  <a:rPr lang="en-US" sz="180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oMath>
                            </m:oMathPara>
                          </a14:m>
                          <a:endParaRPr lang="en-US" sz="18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solidFill>
                          <a:schemeClr val="tx2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906685470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8" name="Table 11">
                <a:extLst>
                  <a:ext uri="{FF2B5EF4-FFF2-40B4-BE49-F238E27FC236}">
                    <a16:creationId xmlns:a16="http://schemas.microsoft.com/office/drawing/2014/main" id="{65078BFE-4DEF-49A1-B260-4CB37A9BBEE4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162815619"/>
                  </p:ext>
                </p:extLst>
              </p:nvPr>
            </p:nvGraphicFramePr>
            <p:xfrm>
              <a:off x="1286275" y="2403429"/>
              <a:ext cx="8128000" cy="1004062"/>
            </p:xfrm>
            <a:graphic>
              <a:graphicData uri="http://schemas.openxmlformats.org/drawingml/2006/table">
                <a:tbl>
                  <a:tblPr firstRow="1" bandRow="1">
                    <a:tableStyleId>{073A0DAA-6AF3-43AB-8588-CEC1D06C72B9}</a:tableStyleId>
                  </a:tblPr>
                  <a:tblGrid>
                    <a:gridCol w="2032000">
                      <a:extLst>
                        <a:ext uri="{9D8B030D-6E8A-4147-A177-3AD203B41FA5}">
                          <a16:colId xmlns:a16="http://schemas.microsoft.com/office/drawing/2014/main" val="1650658119"/>
                        </a:ext>
                      </a:extLst>
                    </a:gridCol>
                    <a:gridCol w="2032000">
                      <a:extLst>
                        <a:ext uri="{9D8B030D-6E8A-4147-A177-3AD203B41FA5}">
                          <a16:colId xmlns:a16="http://schemas.microsoft.com/office/drawing/2014/main" val="2337753444"/>
                        </a:ext>
                      </a:extLst>
                    </a:gridCol>
                    <a:gridCol w="2032000">
                      <a:extLst>
                        <a:ext uri="{9D8B030D-6E8A-4147-A177-3AD203B41FA5}">
                          <a16:colId xmlns:a16="http://schemas.microsoft.com/office/drawing/2014/main" val="406046514"/>
                        </a:ext>
                      </a:extLst>
                    </a:gridCol>
                    <a:gridCol w="2032000">
                      <a:extLst>
                        <a:ext uri="{9D8B030D-6E8A-4147-A177-3AD203B41FA5}">
                          <a16:colId xmlns:a16="http://schemas.microsoft.com/office/drawing/2014/main" val="2214480428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f(t)</a:t>
                          </a:r>
                        </a:p>
                      </a:txBody>
                      <a:tcPr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S(t)</a:t>
                          </a:r>
                        </a:p>
                      </a:txBody>
                      <a:tcPr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Mean</a:t>
                          </a:r>
                        </a:p>
                      </a:txBody>
                      <a:tcPr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Median</a:t>
                          </a:r>
                        </a:p>
                      </a:txBody>
                      <a:tcPr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932534424"/>
                      </a:ext>
                    </a:extLst>
                  </a:tr>
                  <a:tr h="633222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6"/>
                          <a:stretch>
                            <a:fillRect l="-599" t="-64423" r="-300599" b="-5384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6"/>
                          <a:stretch>
                            <a:fillRect l="-100901" t="-64423" r="-201502" b="-5384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6"/>
                          <a:stretch>
                            <a:fillRect l="-200299" t="-64423" r="-100898" b="-5384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6"/>
                          <a:stretch>
                            <a:fillRect l="-301201" t="-64423" r="-1201" b="-53846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2906685470"/>
                      </a:ext>
                    </a:extLst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3764738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95B6064-96F1-4096-9978-4F222CA600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95B6064-96F1-4096-9978-4F222CA60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CEEADF-B9F6-457A-91F6-7ECEC6358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4E3A7-135D-0C4C-A9A7-E9F09DD633CC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4" name="Grunt object 4d4ec85d99900d6e154d9669fd13ad69">
            <a:extLst>
              <a:ext uri="{FF2B5EF4-FFF2-40B4-BE49-F238E27FC236}">
                <a16:creationId xmlns:a16="http://schemas.microsoft.com/office/drawing/2014/main" id="{FE0635B0-071E-478C-AC43-B79857D19E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8000" y="2044700"/>
            <a:ext cx="6115050" cy="3460750"/>
          </a:xfrm>
          <a:prstGeom prst="rect">
            <a:avLst/>
          </a:prstGeom>
          <a:blipFill dpi="0" rotWithShape="1">
            <a:blip r:embed="rId7"/>
            <a:srcRect/>
            <a:stretch>
              <a:fillRect/>
            </a:stretch>
          </a:blipFill>
          <a:ln w="19050" cap="rnd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1240B29-F687-4F45-9708-019B960494DF}">
              <a14:hiddenLine xmlns:a14="http://schemas.microsoft.com/office/drawing/2010/main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B8AD802-4D39-44FF-891F-F11E58BEA02F}"/>
              </a:ext>
            </a:extLst>
          </p:cNvPr>
          <p:cNvSpPr txBox="1">
            <a:spLocks/>
          </p:cNvSpPr>
          <p:nvPr/>
        </p:nvSpPr>
        <p:spPr>
          <a:xfrm>
            <a:off x="470611" y="3561700"/>
            <a:ext cx="1926360" cy="86793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BE" dirty="0"/>
              <a:t>Agenda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FE63CDAD-E326-4335-BE4D-69245B7C4338}"/>
              </a:ext>
            </a:extLst>
          </p:cNvPr>
          <p:cNvSpPr txBox="1">
            <a:spLocks/>
          </p:cNvSpPr>
          <p:nvPr/>
        </p:nvSpPr>
        <p:spPr>
          <a:xfrm>
            <a:off x="470611" y="3561700"/>
            <a:ext cx="4338456" cy="86793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BE" dirty="0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388726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EB490F43-A184-40E7-9021-6012E981D3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0587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25" imgH="424" progId="TCLayout.ActiveDocument.1">
                  <p:embed/>
                </p:oleObj>
              </mc:Choice>
              <mc:Fallback>
                <p:oleObj name="think-cell Slide" r:id="rId23" imgW="425" imgH="42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EB490F43-A184-40E7-9021-6012E981D3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E1E20DCC-40B3-4DCB-9CED-750C52A4D7B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9235700"/>
              </p:ext>
            </p:extLst>
          </p:nvPr>
        </p:nvGraphicFramePr>
        <p:xfrm>
          <a:off x="624825" y="1581938"/>
          <a:ext cx="6804025" cy="4814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F7654B0-C015-4137-A8BA-5E87D9D0A1F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387075" y="6473825"/>
            <a:ext cx="16335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dirty="0">
                <a:solidFill>
                  <a:schemeClr val="tx1"/>
                </a:solidFill>
                <a:effectLst/>
              </a:rPr>
              <a:t>Months (28 Days)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0A95D57-EA5B-435D-A2A8-68B804F2413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264073" y="4525704"/>
            <a:ext cx="830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dirty="0">
                <a:solidFill>
                  <a:srgbClr val="C30C3E"/>
                </a:solidFill>
              </a:rPr>
              <a:t>Proposed Mod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E5E02D-A68D-4E9B-91AD-C99458D4D43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264074" y="4738694"/>
            <a:ext cx="830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E391E4-FEAF-47E3-8856-4E56A9867591}" type="datetime'K''a''''''p''''''''''l''''''a''''''n'' Me''''i''''e''''''''r'">
              <a:rPr lang="en-US" altLang="en-US" smtClean="0">
                <a:solidFill>
                  <a:schemeClr val="tx1"/>
                </a:solidFill>
              </a:rPr>
              <a:pPr/>
              <a:t>Kaplan Meier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1D47906-646B-494A-91EF-02F976D37AB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34642" y="1187450"/>
            <a:ext cx="11287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dirty="0">
                <a:solidFill>
                  <a:schemeClr val="tx1"/>
                </a:solidFill>
                <a:effectLst/>
              </a:rPr>
              <a:t>% Persisten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00B6E8D0-A732-4EB2-9394-2DA2ECBDF91C}"/>
              </a:ext>
            </a:extLst>
          </p:cNvPr>
          <p:cNvSpPr txBox="1">
            <a:spLocks/>
          </p:cNvSpPr>
          <p:nvPr/>
        </p:nvSpPr>
        <p:spPr>
          <a:xfrm>
            <a:off x="404695" y="80593"/>
            <a:ext cx="11189542" cy="74273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75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18AB3"/>
                </a:solidFill>
                <a:effectLst/>
                <a:uLnTx/>
                <a:uFillTx/>
                <a:latin typeface="Trebuchet MS" panose="020B0603020202020204"/>
                <a:ea typeface="+mj-ea"/>
                <a:cs typeface="+mj-cs"/>
              </a:rPr>
              <a:t>Numerical example: Proposed Methodology fits the data very resulting in accurate mean (average) length of therapy</a:t>
            </a:r>
            <a:endParaRPr kumimoji="0" lang="en-BE" sz="3200" b="1" i="0" u="none" strike="noStrike" kern="1200" cap="none" spc="0" normalizeH="0" baseline="0" noProof="0" dirty="0">
              <a:ln>
                <a:noFill/>
              </a:ln>
              <a:solidFill>
                <a:srgbClr val="418AB3"/>
              </a:solidFill>
              <a:effectLst/>
              <a:uLnTx/>
              <a:uFillTx/>
              <a:latin typeface="Trebuchet MS" panose="020B0603020202020204"/>
              <a:ea typeface="+mj-ea"/>
              <a:cs typeface="+mj-cs"/>
            </a:endParaRP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83DF1893-EFE9-4D24-93DB-339338C6E3B8}"/>
              </a:ext>
            </a:extLst>
          </p:cNvPr>
          <p:cNvSpPr txBox="1">
            <a:spLocks/>
          </p:cNvSpPr>
          <p:nvPr/>
        </p:nvSpPr>
        <p:spPr>
          <a:xfrm>
            <a:off x="404695" y="626772"/>
            <a:ext cx="10567873" cy="68295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418AB3"/>
              </a:buClr>
            </a:pPr>
            <a:endParaRPr lang="en-US" sz="2400" dirty="0">
              <a:solidFill>
                <a:srgbClr val="418AB3"/>
              </a:solidFill>
              <a:latin typeface="Trebuchet MS" panose="020B0603020202020204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DC182BA8-3711-488A-A5C6-6271BE1D459E}"/>
              </a:ext>
            </a:extLst>
          </p:cNvPr>
          <p:cNvSpPr txBox="1"/>
          <p:nvPr/>
        </p:nvSpPr>
        <p:spPr>
          <a:xfrm>
            <a:off x="2592366" y="1878513"/>
            <a:ext cx="1363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libration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A33876A8-43C6-4878-B0FA-877C3724512E}"/>
              </a:ext>
            </a:extLst>
          </p:cNvPr>
          <p:cNvSpPr txBox="1"/>
          <p:nvPr/>
        </p:nvSpPr>
        <p:spPr>
          <a:xfrm>
            <a:off x="5377770" y="1878513"/>
            <a:ext cx="1363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ojection</a:t>
            </a:r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F32E8C34-DD00-490E-BF13-DE21F84D06DD}"/>
              </a:ext>
            </a:extLst>
          </p:cNvPr>
          <p:cNvCxnSpPr/>
          <p:nvPr/>
        </p:nvCxnSpPr>
        <p:spPr>
          <a:xfrm>
            <a:off x="4781266" y="1718469"/>
            <a:ext cx="0" cy="4185458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2FD00C3-0FB3-46ED-9A84-754ABCAA7E7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264074" y="5259824"/>
            <a:ext cx="830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40C582-8CA6-40DA-BFB0-D1F1F2CE9B5B}" type="datetime'''E''''x''''''p''o''''''n''''e''''''''''''nti''a''''''l'''">
              <a:rPr lang="en-US" altLang="en-US" smtClean="0">
                <a:solidFill>
                  <a:schemeClr val="accent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xponential</a:t>
            </a:fld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77792DF9-73EC-49E7-BC39-9378C414A36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264073" y="5006446"/>
            <a:ext cx="830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CC00DCD-AF27-44B9-AC60-16F6C008D7D7}" type="datetime'''''''''''''Lo''''''''gno''''''''r''ma''''l'''''''''''''">
              <a:rPr lang="en-US" altLang="en-US" smtClean="0">
                <a:solidFill>
                  <a:srgbClr val="FFC000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ognormal</a:t>
            </a:fld>
            <a:endParaRPr lang="en-US" dirty="0">
              <a:solidFill>
                <a:srgbClr val="FFC000"/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46BA4F7-4490-4E97-B095-8F03C5D143A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264074" y="4272326"/>
            <a:ext cx="830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G (no inflation)</a:t>
            </a:r>
          </a:p>
        </p:txBody>
      </p:sp>
      <p:graphicFrame>
        <p:nvGraphicFramePr>
          <p:cNvPr id="50" name="Chart 49">
            <a:extLst>
              <a:ext uri="{FF2B5EF4-FFF2-40B4-BE49-F238E27FC236}">
                <a16:creationId xmlns:a16="http://schemas.microsoft.com/office/drawing/2014/main" id="{16E3D9FD-C916-47C9-B548-DB34982E9866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74329111"/>
              </p:ext>
            </p:extLst>
          </p:nvPr>
        </p:nvGraphicFramePr>
        <p:xfrm>
          <a:off x="8724900" y="1824038"/>
          <a:ext cx="2330450" cy="1816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96C5AE3-44F8-4C74-947D-31C586EF281A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 flipH="1">
            <a:off x="9485313" y="2533650"/>
            <a:ext cx="1635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0C1E3723-F4FF-40E8-9A5F-B29A01283143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0131425" y="2533650"/>
            <a:ext cx="1603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511514C-7BEA-4E9F-90F3-348DE7FA84D7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 flipH="1">
            <a:off x="10206038" y="2079625"/>
            <a:ext cx="1635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35E5BC3-8C82-4DA6-BBD4-8EDA6E27CF7E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V="1">
            <a:off x="10248900" y="2076451"/>
            <a:ext cx="0" cy="4603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185BDAB-2246-45AE-B89D-675F1B7ED897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>
            <a:off x="9410700" y="2827338"/>
            <a:ext cx="1603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D3FBFD4-FDB1-4E47-9B4F-26C2490C60D9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9528175" y="2530475"/>
            <a:ext cx="0" cy="3000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094E1B32-AEF3-4EBD-AD4B-4579EAC8D29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590088" y="3608388"/>
            <a:ext cx="598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49EC47-6A74-48FC-98D0-67A1AC0B7A44}" type="datetime'''''''''''''''''P''r''''o''p''''o''''''''''s''''''ed'''''">
              <a:rPr lang="en-US" altLang="en-US" sz="1200" smtClean="0"/>
              <a:pPr/>
              <a:t>Proposed</a:t>
            </a:fld>
            <a:endParaRPr lang="en-US" sz="12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5BF1B768-3E95-432B-8DA5-9324CFBCC72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797925" y="3608388"/>
            <a:ext cx="7413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F57EC7-2792-46D7-8516-708D104F375A}" type="datetime'E''''''x''''pone''''''n''t''i''''''al'''">
              <a:rPr lang="en-US" altLang="en-US" sz="1200" smtClean="0"/>
              <a:pPr/>
              <a:t>Exponential</a:t>
            </a:fld>
            <a:endParaRPr lang="en-US" sz="1200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370D23F0-7BE8-4F69-B7DB-8984268DA0F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275888" y="3608388"/>
            <a:ext cx="6715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72F117-371A-4DB1-87CD-C90FDEB2E637}" type="datetime'''L''''o''''''''g''n''''''''''o''''r''''''''''m''a''''l'''''''">
              <a:rPr lang="en-US" altLang="en-US" sz="1200" smtClean="0"/>
              <a:pPr/>
              <a:t>Lognormal</a:t>
            </a:fld>
            <a:endParaRPr lang="en-US" sz="120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0DAC0CE-D60E-416B-B4B7-4BA5269104F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117138" y="1768475"/>
            <a:ext cx="263525" cy="2635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5F2707-B2BE-42E2-A4CD-D04FE5CCC683}" type="datetime'''''''''''''''+''''5'''''">
              <a:rPr lang="en-US" altLang="en-US" sz="1400" b="1" smtClean="0">
                <a:effectLst/>
              </a:rPr>
              <a:pPr/>
              <a:t>+5</a:t>
            </a:fld>
            <a:endParaRPr lang="en-US" sz="1400" b="1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B51B1A7C-0344-47DA-9293-CFF1556951A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9407525" y="2244725"/>
            <a:ext cx="241300" cy="2413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79F17F-F78E-4B67-9D66-9FBDFC132374}" type="datetime'''''''''''''''''''''''''''''''-''''''''''4'''''''''''''''''">
              <a:rPr lang="en-US" altLang="en-US" sz="1400" b="1" smtClean="0">
                <a:effectLst/>
              </a:rPr>
              <a:pPr/>
              <a:t>-4</a:t>
            </a:fld>
            <a:endParaRPr lang="en-US" sz="1400" b="1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67CFB25-DAE5-482A-B2C4-A91FA6926A47}"/>
              </a:ext>
            </a:extLst>
          </p:cNvPr>
          <p:cNvSpPr txBox="1"/>
          <p:nvPr/>
        </p:nvSpPr>
        <p:spPr>
          <a:xfrm>
            <a:off x="9322593" y="1453672"/>
            <a:ext cx="11318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u="sng" dirty="0"/>
              <a:t>Mea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A66692C-A573-4E22-9DFF-598E13B87555}"/>
              </a:ext>
            </a:extLst>
          </p:cNvPr>
          <p:cNvSpPr txBox="1"/>
          <p:nvPr/>
        </p:nvSpPr>
        <p:spPr>
          <a:xfrm>
            <a:off x="8301697" y="854301"/>
            <a:ext cx="3405455" cy="646331"/>
          </a:xfrm>
          <a:prstGeom prst="rect">
            <a:avLst/>
          </a:prstGeom>
          <a:solidFill>
            <a:srgbClr val="5A99BD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tandard probability distributions under- or over-estimate the mean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FEE6415-ECDF-4DE1-A0CF-2E5E7F72EEAD}"/>
              </a:ext>
            </a:extLst>
          </p:cNvPr>
          <p:cNvSpPr txBox="1"/>
          <p:nvPr/>
        </p:nvSpPr>
        <p:spPr>
          <a:xfrm>
            <a:off x="2441360" y="854301"/>
            <a:ext cx="3405455" cy="646331"/>
          </a:xfrm>
          <a:prstGeom prst="rect">
            <a:avLst/>
          </a:prstGeom>
          <a:solidFill>
            <a:srgbClr val="5A99BD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roposed model fits the data like a “glove”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600572F-902F-4AF8-A4F7-5F054430D4B7}"/>
              </a:ext>
            </a:extLst>
          </p:cNvPr>
          <p:cNvSpPr txBox="1"/>
          <p:nvPr/>
        </p:nvSpPr>
        <p:spPr>
          <a:xfrm>
            <a:off x="11023389" y="3193153"/>
            <a:ext cx="11614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>
                    <a:lumMod val="50000"/>
                  </a:schemeClr>
                </a:solidFill>
              </a:rPr>
              <a:t>EG mean undefined</a:t>
            </a:r>
          </a:p>
        </p:txBody>
      </p:sp>
      <p:sp>
        <p:nvSpPr>
          <p:cNvPr id="51" name="Content Placeholder 3">
            <a:extLst>
              <a:ext uri="{FF2B5EF4-FFF2-40B4-BE49-F238E27FC236}">
                <a16:creationId xmlns:a16="http://schemas.microsoft.com/office/drawing/2014/main" id="{09303EC0-BE86-4A78-8C3D-A8F7D89DE5EF}"/>
              </a:ext>
            </a:extLst>
          </p:cNvPr>
          <p:cNvSpPr txBox="1">
            <a:spLocks/>
          </p:cNvSpPr>
          <p:nvPr/>
        </p:nvSpPr>
        <p:spPr>
          <a:xfrm>
            <a:off x="8960185" y="4273452"/>
            <a:ext cx="2840956" cy="20313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18AB3"/>
              </a:buClr>
              <a:buSzPct val="80000"/>
              <a:buFont typeface="Wingdings 3" charset="2"/>
              <a:buChar char="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31% in the “inflated” group that drops off within 1st month</a:t>
            </a:r>
          </a:p>
          <a:p>
            <a:pPr>
              <a:buClr>
                <a:srgbClr val="418AB3"/>
              </a:buClr>
              <a:defRPr/>
            </a:pPr>
            <a:r>
              <a:rPr lang="en-US" dirty="0">
                <a:solidFill>
                  <a:srgbClr val="000000">
                    <a:lumMod val="75000"/>
                    <a:lumOff val="25000"/>
                  </a:srgbClr>
                </a:solidFill>
                <a:latin typeface="Trebuchet MS" panose="020B0603020202020204"/>
              </a:rPr>
              <a:t>Remaining 69% follow the EG distribution with mean = 17.4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18AB3"/>
              </a:buClr>
              <a:buSzPct val="8000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222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6EA35BC-E997-4A32-A2B6-113F01A86F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601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6EA35BC-E997-4A32-A2B6-113F01A86F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1320096B-8FEF-DA47-B4BE-108A90B77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353" y="245060"/>
            <a:ext cx="10339349" cy="742733"/>
          </a:xfrm>
        </p:spPr>
        <p:txBody>
          <a:bodyPr vert="horz">
            <a:normAutofit/>
          </a:bodyPr>
          <a:lstStyle/>
          <a:p>
            <a:r>
              <a:rPr lang="en-US" sz="3200" b="1" dirty="0"/>
              <a:t>R code for replication</a:t>
            </a:r>
            <a:endParaRPr lang="en-BE" sz="3200" b="1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88EA667-8BBF-4414-97E5-00DD761C4C8F}"/>
              </a:ext>
            </a:extLst>
          </p:cNvPr>
          <p:cNvSpPr txBox="1">
            <a:spLocks/>
          </p:cNvSpPr>
          <p:nvPr/>
        </p:nvSpPr>
        <p:spPr>
          <a:xfrm>
            <a:off x="678304" y="888580"/>
            <a:ext cx="7691022" cy="4944366"/>
          </a:xfrm>
          <a:prstGeom prst="rect">
            <a:avLst/>
          </a:prstGeom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t">
            <a:normAutofit fontScale="85000" lnSpcReduction="20000"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g1f_ll &lt;- function(</a:t>
            </a:r>
            <a:r>
              <a:rPr lang="en-US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,uncen,ce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r=par[1];</a:t>
            </a:r>
          </a:p>
          <a:p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alpha=par[2]</a:t>
            </a:r>
          </a:p>
          <a:p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p=par[3];</a:t>
            </a:r>
          </a:p>
          <a:p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I0=which(</a:t>
            </a:r>
            <a:r>
              <a:rPr lang="en-US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ce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1);</a:t>
            </a:r>
          </a:p>
          <a:p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I1=which(</a:t>
            </a:r>
            <a:r>
              <a:rPr lang="en-US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ce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1);</a:t>
            </a:r>
          </a:p>
          <a:p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#if </a:t>
            </a:r>
            <a:r>
              <a:rPr lang="en-US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ce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&gt; 1  </a:t>
            </a:r>
          </a:p>
          <a:p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LL1=log(1-p)+log(r)-log(alpha)+(r+1)*log(alpha/(</a:t>
            </a:r>
            <a:r>
              <a:rPr lang="en-US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pha+unce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I1]));</a:t>
            </a:r>
          </a:p>
          <a:p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#if </a:t>
            </a:r>
            <a:r>
              <a:rPr lang="en-US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ce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&lt;= 1  </a:t>
            </a:r>
          </a:p>
          <a:p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LL2=</a:t>
            </a:r>
            <a:r>
              <a:rPr lang="en-US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gsumexp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rep(log(p),length(I0)),</a:t>
            </a:r>
          </a:p>
          <a:p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log(1-p)+log(r)-log(alpha)+(r+1)*log(alpha/(</a:t>
            </a:r>
            <a:r>
              <a:rPr lang="en-US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pha+unce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I0])));</a:t>
            </a:r>
          </a:p>
          <a:p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#if </a:t>
            </a:r>
            <a:r>
              <a:rPr lang="en-US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e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L_ce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r*log(alpha/(</a:t>
            </a:r>
            <a:r>
              <a:rPr lang="en-US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pha+ce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 + log(1-p);</a:t>
            </a:r>
          </a:p>
          <a:p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return (-sum(LL1)-sum(LL2)-sum(</a:t>
            </a:r>
            <a:r>
              <a:rPr lang="en-US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L_ce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);</a:t>
            </a:r>
          </a:p>
          <a:p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96717C6-8F9A-48E8-8FD7-270E7624E83D}"/>
              </a:ext>
            </a:extLst>
          </p:cNvPr>
          <p:cNvSpPr txBox="1">
            <a:spLocks/>
          </p:cNvSpPr>
          <p:nvPr/>
        </p:nvSpPr>
        <p:spPr>
          <a:xfrm>
            <a:off x="678304" y="888580"/>
            <a:ext cx="11339946" cy="68295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354B96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BFD6C65-55EF-4AB3-8D4E-602A08D4D0AF}"/>
              </a:ext>
            </a:extLst>
          </p:cNvPr>
          <p:cNvSpPr/>
          <p:nvPr/>
        </p:nvSpPr>
        <p:spPr>
          <a:xfrm>
            <a:off x="678304" y="5969420"/>
            <a:ext cx="7691022" cy="742733"/>
          </a:xfrm>
          <a:prstGeom prst="roundRect">
            <a:avLst>
              <a:gd name="adj" fmla="val 0"/>
            </a:avLst>
          </a:prstGeom>
          <a:solidFill>
            <a:srgbClr val="F6F7F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</a:rPr>
              <a:t>We will open source the code in a package or in </a:t>
            </a:r>
            <a:r>
              <a:rPr lang="en-US" sz="2000" dirty="0" err="1">
                <a:solidFill>
                  <a:schemeClr val="tx1"/>
                </a:solidFill>
              </a:rPr>
              <a:t>Github</a:t>
            </a:r>
            <a:r>
              <a:rPr lang="en-US" sz="2000" dirty="0">
                <a:solidFill>
                  <a:schemeClr val="tx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68723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F5613F7-4AA8-422A-A00D-54D009890F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159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25" imgH="424" progId="TCLayout.ActiveDocument.1">
                  <p:embed/>
                </p:oleObj>
              </mc:Choice>
              <mc:Fallback>
                <p:oleObj name="think-cell Slide" r:id="rId7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F5613F7-4AA8-422A-A00D-54D009890F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1320096B-8FEF-DA47-B4BE-108A90B77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57" y="126714"/>
            <a:ext cx="10339349" cy="742733"/>
          </a:xfrm>
        </p:spPr>
        <p:txBody>
          <a:bodyPr vert="horz">
            <a:normAutofit fontScale="90000"/>
          </a:bodyPr>
          <a:lstStyle/>
          <a:p>
            <a:r>
              <a:rPr lang="en-US" sz="3200" b="1" dirty="0"/>
              <a:t>Remaining life: If a patient stays for </a:t>
            </a:r>
            <a:r>
              <a:rPr lang="en-US" sz="3200" b="1" i="1" dirty="0"/>
              <a:t>t*</a:t>
            </a:r>
            <a:r>
              <a:rPr lang="en-US" sz="3200" b="1" dirty="0"/>
              <a:t> months, how many more months will the patient remain on therapy?</a:t>
            </a:r>
            <a:br>
              <a:rPr lang="en-US" sz="3200" b="1" dirty="0"/>
            </a:br>
            <a:endParaRPr lang="en-BE" sz="3200" b="1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96717C6-8F9A-48E8-8FD7-270E7624E83D}"/>
              </a:ext>
            </a:extLst>
          </p:cNvPr>
          <p:cNvSpPr txBox="1">
            <a:spLocks/>
          </p:cNvSpPr>
          <p:nvPr/>
        </p:nvSpPr>
        <p:spPr>
          <a:xfrm>
            <a:off x="678304" y="888580"/>
            <a:ext cx="11339946" cy="68295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354B96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1E50D7F-9C5D-438E-A5C0-395D4E1B2A77}"/>
              </a:ext>
            </a:extLst>
          </p:cNvPr>
          <p:cNvSpPr txBox="1">
            <a:spLocks/>
          </p:cNvSpPr>
          <p:nvPr/>
        </p:nvSpPr>
        <p:spPr>
          <a:xfrm>
            <a:off x="830704" y="1230057"/>
            <a:ext cx="11339946" cy="68295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i="1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CD2FEC4-3396-4C9F-BF7C-B4BDA4C9B503}"/>
              </a:ext>
            </a:extLst>
          </p:cNvPr>
          <p:cNvGrpSpPr/>
          <p:nvPr/>
        </p:nvGrpSpPr>
        <p:grpSpPr>
          <a:xfrm>
            <a:off x="1715072" y="1718469"/>
            <a:ext cx="5820872" cy="4185458"/>
            <a:chOff x="679940" y="1743869"/>
            <a:chExt cx="5820872" cy="418545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A7367C0-1BDC-421D-B8F0-7704A7A8E378}"/>
                </a:ext>
              </a:extLst>
            </p:cNvPr>
            <p:cNvSpPr/>
            <p:nvPr/>
          </p:nvSpPr>
          <p:spPr>
            <a:xfrm>
              <a:off x="3750999" y="1743869"/>
              <a:ext cx="2749813" cy="4185458"/>
            </a:xfrm>
            <a:prstGeom prst="rect">
              <a:avLst/>
            </a:prstGeom>
            <a:solidFill>
              <a:schemeClr val="accent5">
                <a:lumMod val="20000"/>
                <a:lumOff val="80000"/>
                <a:alpha val="4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08C3E66-B8B8-4D97-BF9B-993ED47FCE95}"/>
                </a:ext>
              </a:extLst>
            </p:cNvPr>
            <p:cNvSpPr/>
            <p:nvPr/>
          </p:nvSpPr>
          <p:spPr>
            <a:xfrm>
              <a:off x="679940" y="1743869"/>
              <a:ext cx="3071059" cy="4185458"/>
            </a:xfrm>
            <a:prstGeom prst="rect">
              <a:avLst/>
            </a:prstGeom>
            <a:solidFill>
              <a:schemeClr val="accent3">
                <a:lumMod val="20000"/>
                <a:lumOff val="80000"/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0183E951-DB75-4398-82DA-50AC6A02BEE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0882833"/>
              </p:ext>
            </p:extLst>
          </p:nvPr>
        </p:nvGraphicFramePr>
        <p:xfrm>
          <a:off x="1046244" y="1512807"/>
          <a:ext cx="6804025" cy="4814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FEEC5A9-C41C-4C0B-9FDD-483D5E060152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 flipH="1">
            <a:off x="7653419" y="4879975"/>
            <a:ext cx="492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364C5E-B001-4A64-B88E-B01F762E5F6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808494" y="6473825"/>
            <a:ext cx="16335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dirty="0">
                <a:solidFill>
                  <a:schemeClr val="tx1"/>
                </a:solidFill>
                <a:effectLst/>
              </a:rPr>
              <a:t>Months (28 Days)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374AD91-1C27-4786-AF97-4993BB9A6E9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046244" y="1219036"/>
            <a:ext cx="11287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dirty="0">
                <a:solidFill>
                  <a:schemeClr val="tx1"/>
                </a:solidFill>
                <a:effectLst/>
              </a:rPr>
              <a:t>% Persisten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0282FEB-1E69-41CA-B296-020C485B1F5E}"/>
              </a:ext>
            </a:extLst>
          </p:cNvPr>
          <p:cNvSpPr txBox="1"/>
          <p:nvPr/>
        </p:nvSpPr>
        <p:spPr>
          <a:xfrm>
            <a:off x="2785029" y="4417559"/>
            <a:ext cx="11656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>
                <a:solidFill>
                  <a:srgbClr val="FF0000"/>
                </a:solidFill>
                <a:latin typeface="+mj-lt"/>
                <a:ea typeface="+mj-ea"/>
                <a:cs typeface="+mj-cs"/>
              </a:rPr>
              <a:t>t* </a:t>
            </a:r>
            <a:r>
              <a:rPr lang="en-US" b="1" dirty="0">
                <a:solidFill>
                  <a:srgbClr val="FF0000"/>
                </a:solidFill>
                <a:latin typeface="+mj-lt"/>
                <a:ea typeface="+mj-ea"/>
                <a:cs typeface="+mj-cs"/>
              </a:rPr>
              <a:t>= 5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24524B-6A43-4F49-9579-A20611112310}"/>
              </a:ext>
            </a:extLst>
          </p:cNvPr>
          <p:cNvSpPr txBox="1"/>
          <p:nvPr/>
        </p:nvSpPr>
        <p:spPr>
          <a:xfrm flipH="1">
            <a:off x="4854263" y="3150856"/>
            <a:ext cx="26135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ow many more months on therapy?</a:t>
            </a:r>
          </a:p>
        </p:txBody>
      </p:sp>
    </p:spTree>
    <p:extLst>
      <p:ext uri="{BB962C8B-B14F-4D97-AF65-F5344CB8AC3E}">
        <p14:creationId xmlns:p14="http://schemas.microsoft.com/office/powerpoint/2010/main" val="764693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96B3F3-DAA4-4CA8-8252-8918C148F8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8891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96B3F3-DAA4-4CA8-8252-8918C148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18785FA-34D3-4993-A1EB-CDDF9F60F5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027" y="0"/>
            <a:ext cx="8596668" cy="1320800"/>
          </a:xfrm>
        </p:spPr>
        <p:txBody>
          <a:bodyPr vert="horz"/>
          <a:lstStyle/>
          <a:p>
            <a:r>
              <a:rPr lang="en-US" sz="3600" b="1" dirty="0"/>
              <a:t>Remaining lif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E874CD-DAAF-4773-BFEE-F8BD60AADC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Content Placeholder 3">
                <a:extLst>
                  <a:ext uri="{FF2B5EF4-FFF2-40B4-BE49-F238E27FC236}">
                    <a16:creationId xmlns:a16="http://schemas.microsoft.com/office/drawing/2014/main" id="{850C52E1-0A76-4E7C-8CEB-50C7727E1757}"/>
                  </a:ext>
                </a:extLst>
              </p:cNvPr>
              <p:cNvSpPr>
                <a:spLocks noGrp="1"/>
              </p:cNvSpPr>
              <p:nvPr>
                <p:ph sz="quarter" idx="12"/>
              </p:nvPr>
            </p:nvSpPr>
            <p:spPr/>
            <p:txBody>
              <a:bodyPr>
                <a:normAutofit/>
              </a:bodyPr>
              <a:lstStyle/>
              <a:p>
                <a:r>
                  <a:rPr lang="en-US" dirty="0">
                    <a:solidFill>
                      <a:schemeClr val="tx1"/>
                    </a:solidFill>
                  </a:rPr>
                  <a:t>These are </a:t>
                </a:r>
                <a:r>
                  <a:rPr lang="en-US" i="1" dirty="0">
                    <a:solidFill>
                      <a:schemeClr val="tx1"/>
                    </a:solidFill>
                  </a:rPr>
                  <a:t>conditional</a:t>
                </a:r>
                <a:r>
                  <a:rPr lang="en-US" dirty="0">
                    <a:solidFill>
                      <a:schemeClr val="tx1"/>
                    </a:solidFill>
                  </a:rPr>
                  <a:t> metrics: </a:t>
                </a:r>
                <a:r>
                  <a:rPr lang="en-US" i="1" dirty="0">
                    <a:solidFill>
                      <a:schemeClr val="tx1"/>
                    </a:solidFill>
                  </a:rPr>
                  <a:t>M</a:t>
                </a:r>
                <a:r>
                  <a:rPr lang="en-US" dirty="0">
                    <a:solidFill>
                      <a:schemeClr val="tx1"/>
                    </a:solidFill>
                  </a:rPr>
                  <a:t>[</a:t>
                </a:r>
                <a:r>
                  <a:rPr lang="en-US" i="1" dirty="0">
                    <a:solidFill>
                      <a:schemeClr val="tx1"/>
                    </a:solidFill>
                  </a:rPr>
                  <a:t>S| t*</a:t>
                </a:r>
                <a:r>
                  <a:rPr lang="en-US" dirty="0">
                    <a:solidFill>
                      <a:schemeClr val="tx1"/>
                    </a:solidFill>
                  </a:rPr>
                  <a:t>]</a:t>
                </a:r>
              </a:p>
              <a:p>
                <a:r>
                  <a:rPr lang="en-US" dirty="0">
                    <a:solidFill>
                      <a:schemeClr val="tx1"/>
                    </a:solidFill>
                  </a:rPr>
                  <a:t>Mean residual life: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  <m:sSup>
                          <m:sSupPr>
                            <m:ctrlP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𝑡</m:t>
                            </m:r>
                          </m:e>
                          <m:sup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</m:num>
                      <m:den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𝑟</m:t>
                        </m:r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1</m:t>
                        </m:r>
                      </m:den>
                    </m:f>
                  </m:oMath>
                </a14:m>
                <a:r>
                  <a:rPr lang="en-US" dirty="0">
                    <a:solidFill>
                      <a:srgbClr val="354B96"/>
                    </a:solidFill>
                  </a:rPr>
                  <a:t>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num>
                      <m:den>
                        <m:r>
                          <a:rPr 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𝑟</m:t>
                        </m:r>
                        <m:r>
                          <a:rPr 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1</m:t>
                        </m:r>
                      </m:den>
                    </m:f>
                    <m:r>
                      <a:rPr lang="en-US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+</m:t>
                    </m:r>
                    <m:d>
                      <m:dPr>
                        <m:ctrlPr>
                          <a:rPr 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𝑟</m:t>
                            </m:r>
                            <m:r>
                              <a:rPr lang="en-US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−1</m:t>
                            </m:r>
                          </m:den>
                        </m:f>
                      </m:e>
                    </m:d>
                    <m:sSup>
                      <m:sSupPr>
                        <m:ctrlPr>
                          <a:rPr 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p>
                        <m:r>
                          <a:rPr 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n-US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en-US" dirty="0">
                  <a:solidFill>
                    <a:schemeClr val="tx1"/>
                  </a:solidFill>
                </a:endParaRPr>
              </a:p>
              <a:p>
                <a:r>
                  <a:rPr lang="en-US" dirty="0">
                    <a:solidFill>
                      <a:schemeClr val="tx1"/>
                    </a:solidFill>
                  </a:rPr>
                  <a:t>Median residual life: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sup>
                            <m:f>
                              <m:fPr>
                                <m:type m:val="skw"/>
                                <m:ctrlPr>
                                  <a:rPr lang="en-US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num>
                              <m:den>
                                <m:r>
                                  <a:rPr lang="en-US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𝑟</m:t>
                                </m:r>
                              </m:den>
                            </m:f>
                          </m:sup>
                        </m:sSup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d>
                      <m:d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  <m:sSup>
                          <m:sSupPr>
                            <m:ctrlP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𝑡</m:t>
                            </m:r>
                          </m:e>
                          <m:sup>
                            <m:r>
                              <a:rPr lang="en-US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</m:e>
                    </m:d>
                  </m:oMath>
                </a14:m>
                <a:endParaRPr lang="en-US" dirty="0">
                  <a:solidFill>
                    <a:schemeClr val="tx1"/>
                  </a:solidFill>
                </a:endParaRPr>
              </a:p>
              <a:p>
                <a:r>
                  <a:rPr lang="en-US" dirty="0">
                    <a:solidFill>
                      <a:schemeClr val="tx1"/>
                    </a:solidFill>
                  </a:rPr>
                  <a:t>Both are linearly in </a:t>
                </a:r>
                <a:r>
                  <a:rPr lang="en-US" i="1" dirty="0">
                    <a:solidFill>
                      <a:schemeClr val="tx1"/>
                    </a:solidFill>
                  </a:rPr>
                  <a:t>t* </a:t>
                </a:r>
                <a:r>
                  <a:rPr lang="en-US" dirty="0">
                    <a:solidFill>
                      <a:schemeClr val="tx1"/>
                    </a:solidFill>
                  </a:rPr>
                  <a:t>with the form </a:t>
                </a:r>
                <a:r>
                  <a:rPr lang="en-US" i="1" dirty="0" err="1">
                    <a:solidFill>
                      <a:schemeClr val="tx1"/>
                    </a:solidFill>
                  </a:rPr>
                  <a:t>a+bt</a:t>
                </a:r>
                <a:r>
                  <a:rPr lang="en-US" i="1" dirty="0">
                    <a:solidFill>
                      <a:schemeClr val="tx1"/>
                    </a:solidFill>
                  </a:rPr>
                  <a:t>*</a:t>
                </a:r>
                <a:endParaRPr lang="en-US" dirty="0">
                  <a:solidFill>
                    <a:schemeClr val="tx1"/>
                  </a:solidFill>
                </a:endParaRPr>
              </a:p>
              <a:p>
                <a:pPr marL="0" indent="0">
                  <a:buNone/>
                </a:pPr>
                <a:endParaRPr lang="en-US" dirty="0">
                  <a:solidFill>
                    <a:schemeClr val="tx1"/>
                  </a:solidFill>
                </a:endParaRPr>
              </a:p>
              <a:p>
                <a:endParaRPr lang="en-US" dirty="0">
                  <a:solidFill>
                    <a:schemeClr val="tx1"/>
                  </a:solidFill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en-US" dirty="0">
                  <a:solidFill>
                    <a:schemeClr val="tx1"/>
                  </a:solidFill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en-US" dirty="0">
                  <a:solidFill>
                    <a:schemeClr val="tx1"/>
                  </a:solidFill>
                </a:endParaRPr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4" name="Content Placeholder 3">
                <a:extLst>
                  <a:ext uri="{FF2B5EF4-FFF2-40B4-BE49-F238E27FC236}">
                    <a16:creationId xmlns:a16="http://schemas.microsoft.com/office/drawing/2014/main" id="{850C52E1-0A76-4E7C-8CEB-50C7727E175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5"/>
                <a:stretch>
                  <a:fillRect l="-161" t="-90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C6333E-5035-45FD-9D9E-10D05BD237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Mean and Median Residual Life</a:t>
            </a:r>
          </a:p>
        </p:txBody>
      </p:sp>
    </p:spTree>
    <p:extLst>
      <p:ext uri="{BB962C8B-B14F-4D97-AF65-F5344CB8AC3E}">
        <p14:creationId xmlns:p14="http://schemas.microsoft.com/office/powerpoint/2010/main" val="3046441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3A93E28-6044-4A77-950C-C82A7A2B27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4" progId="TCLayout.ActiveDocument.1">
                  <p:embed/>
                </p:oleObj>
              </mc:Choice>
              <mc:Fallback>
                <p:oleObj name="think-cell Slide" r:id="rId8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3A93E28-6044-4A77-950C-C82A7A2B27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1320096B-8FEF-DA47-B4BE-108A90B77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304" y="85522"/>
            <a:ext cx="8369163" cy="742733"/>
          </a:xfrm>
        </p:spPr>
        <p:txBody>
          <a:bodyPr vert="horz">
            <a:normAutofit fontScale="90000"/>
          </a:bodyPr>
          <a:lstStyle/>
          <a:p>
            <a:r>
              <a:rPr lang="en-US" sz="3200" b="1" dirty="0"/>
              <a:t>Remaining Life: Showing the linearity of both conditional residual metrics</a:t>
            </a:r>
            <a:endParaRPr lang="en-BE" sz="3200" b="1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88EA667-8BBF-4414-97E5-00DD761C4C8F}"/>
              </a:ext>
            </a:extLst>
          </p:cNvPr>
          <p:cNvSpPr txBox="1">
            <a:spLocks/>
          </p:cNvSpPr>
          <p:nvPr/>
        </p:nvSpPr>
        <p:spPr>
          <a:xfrm>
            <a:off x="678304" y="712294"/>
            <a:ext cx="9398950" cy="68295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ea typeface="+mj-ea"/>
              <a:cs typeface="+mj-cs"/>
            </a:endParaRPr>
          </a:p>
        </p:txBody>
      </p:sp>
      <p:graphicFrame>
        <p:nvGraphicFramePr>
          <p:cNvPr id="150" name="Chart 149">
            <a:extLst>
              <a:ext uri="{FF2B5EF4-FFF2-40B4-BE49-F238E27FC236}">
                <a16:creationId xmlns:a16="http://schemas.microsoft.com/office/drawing/2014/main" id="{200301E8-9337-436B-BA59-21A4CE650B2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01029"/>
              </p:ext>
            </p:extLst>
          </p:nvPr>
        </p:nvGraphicFramePr>
        <p:xfrm>
          <a:off x="2556179" y="1766888"/>
          <a:ext cx="6491288" cy="3852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A8B3E465-EA16-49BF-83B3-960B2C0E1FE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246494" y="1508388"/>
            <a:ext cx="944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#Remaining </a:t>
            </a:r>
            <a:r>
              <a:rPr lang="en-US" altLang="en-US" sz="1400" dirty="0"/>
              <a:t>Life (in </a:t>
            </a:r>
            <a:r>
              <a:rPr lang="en-US" altLang="en-US" sz="1400" dirty="0">
                <a:effectLst/>
              </a:rPr>
              <a:t>months)</a:t>
            </a:r>
            <a:endParaRPr lang="en-US" sz="1400" dirty="0"/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EBEA2467-CDD6-42CD-95A2-C09C5A6D493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275567" y="5718175"/>
            <a:ext cx="1343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Given #Months Stayed </a:t>
            </a:r>
            <a:r>
              <a:rPr lang="en-US" sz="1400" i="1" dirty="0">
                <a:solidFill>
                  <a:schemeClr val="tx1"/>
                </a:solidFill>
              </a:rPr>
              <a:t>t*</a:t>
            </a:r>
            <a:endParaRPr lang="en-US" sz="14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FDCA53EC-00BE-4A36-BE46-82E2FDB7B79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9037148" y="2531967"/>
            <a:ext cx="9350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accent1"/>
                </a:solidFill>
                <a:effectLst/>
              </a:rPr>
              <a:t>Residual Mean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A8EBE07-64C5-4D02-B735-D6B6FEB9A10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037148" y="4094137"/>
            <a:ext cx="830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accent3"/>
                </a:solidFill>
                <a:effectLst/>
              </a:rPr>
              <a:t>Residual Median</a:t>
            </a:r>
            <a:endParaRPr lang="en-US" sz="1400" dirty="0">
              <a:solidFill>
                <a:schemeClr val="accent3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AA78E83C-F7F5-45E6-87D8-58F3D834074B}"/>
              </a:ext>
            </a:extLst>
          </p:cNvPr>
          <p:cNvCxnSpPr>
            <a:cxnSpLocks/>
          </p:cNvCxnSpPr>
          <p:nvPr/>
        </p:nvCxnSpPr>
        <p:spPr>
          <a:xfrm flipV="1">
            <a:off x="1882389" y="4603805"/>
            <a:ext cx="874643" cy="891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0695C985-44A4-4378-91E9-7DE7387D5C28}"/>
              </a:ext>
            </a:extLst>
          </p:cNvPr>
          <p:cNvCxnSpPr>
            <a:cxnSpLocks/>
          </p:cNvCxnSpPr>
          <p:nvPr/>
        </p:nvCxnSpPr>
        <p:spPr>
          <a:xfrm>
            <a:off x="1882389" y="4839938"/>
            <a:ext cx="874643" cy="1614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F2FAEA22-6DBD-4315-BF67-7CFA516DC669}"/>
              </a:ext>
            </a:extLst>
          </p:cNvPr>
          <p:cNvSpPr txBox="1"/>
          <p:nvPr/>
        </p:nvSpPr>
        <p:spPr>
          <a:xfrm>
            <a:off x="596348" y="3558099"/>
            <a:ext cx="1244662" cy="815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03E0A6A6-2082-45FA-B7E7-F57D6272C6C2}"/>
              </a:ext>
            </a:extLst>
          </p:cNvPr>
          <p:cNvSpPr/>
          <p:nvPr/>
        </p:nvSpPr>
        <p:spPr>
          <a:xfrm rot="16200000">
            <a:off x="6051878" y="-113660"/>
            <a:ext cx="307779" cy="5065429"/>
          </a:xfrm>
          <a:prstGeom prst="rightBrace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14500FA-3C9F-4D33-9B3B-E4A7915C0940}"/>
              </a:ext>
            </a:extLst>
          </p:cNvPr>
          <p:cNvSpPr txBox="1"/>
          <p:nvPr/>
        </p:nvSpPr>
        <p:spPr>
          <a:xfrm>
            <a:off x="3822386" y="1965375"/>
            <a:ext cx="5065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in the 1-</a:t>
            </a:r>
            <a:r>
              <a:rPr lang="el-GR" sz="1400" i="1" dirty="0"/>
              <a:t>ω</a:t>
            </a:r>
            <a:r>
              <a:rPr lang="en-US" sz="1400" dirty="0"/>
              <a:t> proportion, use the formulas from previous slide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099A1D68-25E7-447A-9595-F21195D2DCBB}"/>
              </a:ext>
            </a:extLst>
          </p:cNvPr>
          <p:cNvCxnSpPr>
            <a:cxnSpLocks/>
          </p:cNvCxnSpPr>
          <p:nvPr/>
        </p:nvCxnSpPr>
        <p:spPr>
          <a:xfrm flipV="1">
            <a:off x="5949902" y="3625803"/>
            <a:ext cx="0" cy="1622058"/>
          </a:xfrm>
          <a:prstGeom prst="straightConnector1">
            <a:avLst/>
          </a:prstGeom>
          <a:ln>
            <a:solidFill>
              <a:srgbClr val="FF0000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15A10598-7654-4762-B738-3272F3B4DE7E}"/>
              </a:ext>
            </a:extLst>
          </p:cNvPr>
          <p:cNvSpPr txBox="1"/>
          <p:nvPr/>
        </p:nvSpPr>
        <p:spPr>
          <a:xfrm>
            <a:off x="7195343" y="1175811"/>
            <a:ext cx="2314417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i="1" dirty="0"/>
              <a:t>Illustrative Example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055AF02-78BA-4086-9D30-0349290C1386}"/>
              </a:ext>
            </a:extLst>
          </p:cNvPr>
          <p:cNvCxnSpPr/>
          <p:nvPr/>
        </p:nvCxnSpPr>
        <p:spPr>
          <a:xfrm flipH="1">
            <a:off x="3116911" y="3558099"/>
            <a:ext cx="2830168" cy="0"/>
          </a:xfrm>
          <a:prstGeom prst="straightConnector1">
            <a:avLst/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3966D51D-34F4-4BBA-91EF-B9F6B3CF860C}"/>
              </a:ext>
            </a:extLst>
          </p:cNvPr>
          <p:cNvSpPr/>
          <p:nvPr/>
        </p:nvSpPr>
        <p:spPr>
          <a:xfrm>
            <a:off x="5731497" y="5308577"/>
            <a:ext cx="443060" cy="34115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B0622C95-06EB-4BFF-A78E-E44229FE4E4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92166" y="2313542"/>
            <a:ext cx="2053025" cy="1399286"/>
          </a:xfrm>
        </p:spPr>
        <p:txBody>
          <a:bodyPr>
            <a:normAutofit fontScale="85000" lnSpcReduction="20000"/>
          </a:bodyPr>
          <a:lstStyle/>
          <a:p>
            <a:r>
              <a:rPr lang="en-US" sz="1800" dirty="0"/>
              <a:t>At </a:t>
            </a:r>
            <a:r>
              <a:rPr lang="en-US" sz="1800" i="1" dirty="0"/>
              <a:t>t*</a:t>
            </a:r>
            <a:r>
              <a:rPr lang="en-US" sz="1800" dirty="0"/>
              <a:t> = 0, unconditional values are used, which account for the possibility of being both proportions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647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4FCF60-715A-455E-974B-D74C68973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60120" y="3114876"/>
            <a:ext cx="8313883" cy="1646302"/>
          </a:xfrm>
        </p:spPr>
        <p:txBody>
          <a:bodyPr/>
          <a:lstStyle/>
          <a:p>
            <a:pPr algn="ctr"/>
            <a:r>
              <a:rPr lang="en-US" sz="4400" dirty="0"/>
              <a:t>What is the Length of Medication Therapy? </a:t>
            </a:r>
            <a:br>
              <a:rPr lang="en-US" sz="4400" dirty="0"/>
            </a:br>
            <a:r>
              <a:rPr lang="en-US" sz="3200" dirty="0"/>
              <a:t>One-inflated Survival Model</a:t>
            </a:r>
            <a:r>
              <a:rPr lang="en-US" sz="4400" dirty="0"/>
              <a:t>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3E92512-1902-4EDF-9F2E-4B7C1A1B09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07067" y="4868913"/>
            <a:ext cx="7766936" cy="1096899"/>
          </a:xfrm>
        </p:spPr>
        <p:txBody>
          <a:bodyPr/>
          <a:lstStyle/>
          <a:p>
            <a:r>
              <a:rPr lang="en-US" dirty="0"/>
              <a:t>Ka Lok Lee</a:t>
            </a:r>
          </a:p>
          <a:p>
            <a:r>
              <a:rPr lang="en-US" dirty="0"/>
              <a:t>Srihari Jaganathan</a:t>
            </a:r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F2C8A868-2F2D-4878-B6CD-45C9246A20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2708" y="230631"/>
            <a:ext cx="6932763" cy="236551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1C071789-0315-44B7-9773-96C6DAD3A0D1}"/>
              </a:ext>
            </a:extLst>
          </p:cNvPr>
          <p:cNvSpPr txBox="1">
            <a:spLocks/>
          </p:cNvSpPr>
          <p:nvPr/>
        </p:nvSpPr>
        <p:spPr>
          <a:xfrm>
            <a:off x="1507067" y="3144590"/>
            <a:ext cx="7766936" cy="164630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r" defTabSz="457200" rtl="0" eaLnBrk="1" latinLnBrk="0" hangingPunct="1">
              <a:spcBef>
                <a:spcPct val="0"/>
              </a:spcBef>
              <a:buNone/>
              <a:defRPr sz="5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0B89B3C-FB16-4A49-B5BE-EFA5363C491F}"/>
              </a:ext>
            </a:extLst>
          </p:cNvPr>
          <p:cNvSpPr txBox="1">
            <a:spLocks/>
          </p:cNvSpPr>
          <p:nvPr/>
        </p:nvSpPr>
        <p:spPr>
          <a:xfrm>
            <a:off x="1507067" y="4790889"/>
            <a:ext cx="7766936" cy="109689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0227A217-CBFD-443E-BD27-E077966D3684}"/>
              </a:ext>
            </a:extLst>
          </p:cNvPr>
          <p:cNvSpPr txBox="1">
            <a:spLocks/>
          </p:cNvSpPr>
          <p:nvPr/>
        </p:nvSpPr>
        <p:spPr>
          <a:xfrm>
            <a:off x="1507067" y="4839204"/>
            <a:ext cx="7766936" cy="109689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42950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95B6064-96F1-4096-9978-4F222CA600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95B6064-96F1-4096-9978-4F222CA60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CEEADF-B9F6-457A-91F6-7ECEC6358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4E3A7-135D-0C4C-A9A7-E9F09DD633CC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4" name="Grunt object a8729d09ef2e45d1b763ce87b324ef57">
            <a:extLst>
              <a:ext uri="{FF2B5EF4-FFF2-40B4-BE49-F238E27FC236}">
                <a16:creationId xmlns:a16="http://schemas.microsoft.com/office/drawing/2014/main" id="{FE0635B0-071E-478C-AC43-B79857D19E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8000" y="2044700"/>
            <a:ext cx="6115050" cy="3460750"/>
          </a:xfrm>
          <a:prstGeom prst="rect">
            <a:avLst/>
          </a:prstGeom>
          <a:blipFill dpi="0" rotWithShape="1">
            <a:blip r:embed="rId7"/>
            <a:srcRect/>
            <a:stretch>
              <a:fillRect/>
            </a:stretch>
          </a:blipFill>
          <a:ln w="19050" cap="rnd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1240B29-F687-4F45-9708-019B960494DF}">
              <a14:hiddenLine xmlns:a14="http://schemas.microsoft.com/office/drawing/2010/main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B8AD802-4D39-44FF-891F-F11E58BEA02F}"/>
              </a:ext>
            </a:extLst>
          </p:cNvPr>
          <p:cNvSpPr txBox="1">
            <a:spLocks/>
          </p:cNvSpPr>
          <p:nvPr/>
        </p:nvSpPr>
        <p:spPr>
          <a:xfrm>
            <a:off x="470611" y="3561700"/>
            <a:ext cx="1926360" cy="86793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BE" dirty="0"/>
              <a:t>Agenda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FE63CDAD-E326-4335-BE4D-69245B7C4338}"/>
              </a:ext>
            </a:extLst>
          </p:cNvPr>
          <p:cNvSpPr txBox="1">
            <a:spLocks/>
          </p:cNvSpPr>
          <p:nvPr/>
        </p:nvSpPr>
        <p:spPr>
          <a:xfrm>
            <a:off x="470611" y="3561700"/>
            <a:ext cx="4338456" cy="86793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BE" dirty="0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81274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A45FCE0-AF42-4B2C-B86E-3AF44B04AC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013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A45FCE0-AF42-4B2C-B86E-3AF44B04AC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DFDF78-CDB1-460D-8668-7D8DBBE46E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2528BAF-0AA3-442C-A484-51484376F6B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26027" y="1412875"/>
            <a:ext cx="9330532" cy="4695825"/>
          </a:xfrm>
        </p:spPr>
        <p:txBody>
          <a:bodyPr/>
          <a:lstStyle/>
          <a:p>
            <a:r>
              <a:rPr lang="en-US" sz="1800" dirty="0"/>
              <a:t>Length of therapy is an important metric in healthcare</a:t>
            </a:r>
          </a:p>
          <a:p>
            <a:r>
              <a:rPr lang="en-US" sz="1800" dirty="0"/>
              <a:t>We developed a </a:t>
            </a:r>
            <a:r>
              <a:rPr lang="en-US" sz="1800" b="1" dirty="0">
                <a:solidFill>
                  <a:srgbClr val="5078B4"/>
                </a:solidFill>
              </a:rPr>
              <a:t>new</a:t>
            </a:r>
            <a:r>
              <a:rPr lang="en-US" sz="1800" dirty="0"/>
              <a:t> model to account for the often-seen 1-month drop</a:t>
            </a:r>
          </a:p>
          <a:p>
            <a:r>
              <a:rPr lang="en-US" sz="1800" dirty="0"/>
              <a:t>We showed proposed method estimated mean accurately and also showed the remaining life as</a:t>
            </a:r>
            <a:r>
              <a:rPr lang="en-US" sz="1800" dirty="0">
                <a:solidFill>
                  <a:schemeClr val="tx1"/>
                </a:solidFill>
              </a:rPr>
              <a:t> </a:t>
            </a:r>
            <a:r>
              <a:rPr lang="en-US" sz="1800" dirty="0"/>
              <a:t>conditional quantities, </a:t>
            </a:r>
            <a:r>
              <a:rPr lang="en-US" sz="1800" i="1" dirty="0">
                <a:solidFill>
                  <a:schemeClr val="tx1"/>
                </a:solidFill>
              </a:rPr>
              <a:t>M</a:t>
            </a:r>
            <a:r>
              <a:rPr lang="en-US" sz="1800" dirty="0">
                <a:solidFill>
                  <a:schemeClr val="tx1"/>
                </a:solidFill>
              </a:rPr>
              <a:t>[</a:t>
            </a:r>
            <a:r>
              <a:rPr lang="en-US" sz="1800" i="1" dirty="0">
                <a:solidFill>
                  <a:schemeClr val="tx1"/>
                </a:solidFill>
              </a:rPr>
              <a:t>S| t*</a:t>
            </a:r>
            <a:r>
              <a:rPr lang="en-US" sz="1800" dirty="0">
                <a:solidFill>
                  <a:schemeClr val="tx1"/>
                </a:solidFill>
              </a:rPr>
              <a:t>]</a:t>
            </a:r>
          </a:p>
          <a:p>
            <a:r>
              <a:rPr lang="en-US" sz="1800" dirty="0"/>
              <a:t>R codes will be shared </a:t>
            </a:r>
          </a:p>
          <a:p>
            <a:r>
              <a:rPr lang="en-US" sz="1800" dirty="0"/>
              <a:t>Extensions: Future work will explore Logistic and proportional hazard regressions can be formulated to explain the inflation and the duration process with covariates </a:t>
            </a:r>
          </a:p>
          <a:p>
            <a:endParaRPr lang="en-US" sz="1800" dirty="0"/>
          </a:p>
          <a:p>
            <a:endParaRPr lang="en-US" sz="1800" dirty="0">
              <a:solidFill>
                <a:schemeClr val="tx1"/>
              </a:solidFill>
            </a:endParaRPr>
          </a:p>
          <a:p>
            <a:endParaRPr lang="en-US" sz="1800" dirty="0"/>
          </a:p>
          <a:p>
            <a:endParaRPr lang="en-US" sz="1800" dirty="0"/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86F13F-5E5C-419E-8751-EA2909C424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6027" y="156366"/>
            <a:ext cx="11339946" cy="369332"/>
          </a:xfrm>
        </p:spPr>
        <p:txBody>
          <a:bodyPr>
            <a:noAutofit/>
          </a:bodyPr>
          <a:lstStyle/>
          <a:p>
            <a:r>
              <a:rPr lang="en-US" sz="2800" b="1" dirty="0"/>
              <a:t>Summary and Extension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7153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567609C-EAA9-436E-B46E-D81C9AD279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923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567609C-EAA9-436E-B46E-D81C9AD279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0051448-8338-4601-A129-7318813CD5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027" y="92075"/>
            <a:ext cx="8596668" cy="1320800"/>
          </a:xfrm>
        </p:spPr>
        <p:txBody>
          <a:bodyPr vert="horz"/>
          <a:lstStyle/>
          <a:p>
            <a:r>
              <a:rPr lang="en-US" dirty="0"/>
              <a:t>Prior Work and Referen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EB4994-6E79-4DC4-8533-C105CE9413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482" name="Picture 2">
            <a:extLst>
              <a:ext uri="{FF2B5EF4-FFF2-40B4-BE49-F238E27FC236}">
                <a16:creationId xmlns:a16="http://schemas.microsoft.com/office/drawing/2014/main" id="{F38CAC92-C9A5-4667-887B-07F6CA8FF0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4070" y="1207678"/>
            <a:ext cx="1547674" cy="1809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67A1597-B721-417F-8FF9-C3AD058329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4542" y="1081904"/>
            <a:ext cx="3983320" cy="203631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CB1F924-452E-42D5-8152-9DF9E934CB7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4856" y="3409117"/>
            <a:ext cx="3873005" cy="274848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522DBC8-7A9D-482E-AD18-D9DA74D7ABBE}"/>
              </a:ext>
            </a:extLst>
          </p:cNvPr>
          <p:cNvSpPr txBox="1"/>
          <p:nvPr/>
        </p:nvSpPr>
        <p:spPr>
          <a:xfrm>
            <a:off x="5259361" y="3141421"/>
            <a:ext cx="4517093" cy="31188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u="sng" strike="noStrike" baseline="0" dirty="0">
                <a:solidFill>
                  <a:srgbClr val="000000"/>
                </a:solidFill>
                <a:latin typeface="+mj-lt"/>
              </a:rPr>
              <a:t>References: </a:t>
            </a:r>
          </a:p>
          <a:p>
            <a:pPr marL="342900" indent="-342900">
              <a:spcBef>
                <a:spcPts val="1000"/>
              </a:spcBef>
              <a:buClr>
                <a:schemeClr val="accent1"/>
              </a:buClr>
              <a:buSzPct val="80000"/>
              <a:buFont typeface="Wingdings 3" charset="2"/>
              <a:buChar char=""/>
            </a:pPr>
            <a:r>
              <a:rPr lang="en-US" dirty="0">
                <a:latin typeface="+mj-lt"/>
              </a:rPr>
              <a:t>Morrison, D. (1978). On linearly increasing mean residual lifetimes. Journal of Applied Probability, 15(3), 617-620. </a:t>
            </a:r>
          </a:p>
          <a:p>
            <a:pPr marL="342900" indent="-342900">
              <a:spcBef>
                <a:spcPts val="1000"/>
              </a:spcBef>
              <a:buClr>
                <a:schemeClr val="accent1"/>
              </a:buClr>
              <a:buSzPct val="80000"/>
              <a:buFont typeface="Wingdings 3" charset="2"/>
              <a:buChar char=""/>
            </a:pPr>
            <a:r>
              <a:rPr lang="en-US" dirty="0" err="1">
                <a:latin typeface="+mj-lt"/>
              </a:rPr>
              <a:t>Schmittlein</a:t>
            </a:r>
            <a:r>
              <a:rPr lang="en-US" dirty="0">
                <a:latin typeface="+mj-lt"/>
              </a:rPr>
              <a:t>, D., Morrison D. (1981). The Median Residual Lifetime: A Characterization Theorem and an Application. Operations Research 29(2):392-399. </a:t>
            </a:r>
          </a:p>
        </p:txBody>
      </p:sp>
    </p:spTree>
    <p:extLst>
      <p:ext uri="{BB962C8B-B14F-4D97-AF65-F5344CB8AC3E}">
        <p14:creationId xmlns:p14="http://schemas.microsoft.com/office/powerpoint/2010/main" val="3248580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95B6064-96F1-4096-9978-4F222CA600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95B6064-96F1-4096-9978-4F222CA60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CEEADF-B9F6-457A-91F6-7ECEC6358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4E3A7-135D-0C4C-A9A7-E9F09DD633C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Grunt object 2031391930f3df5e60cf62e8b825ac5f">
            <a:extLst>
              <a:ext uri="{FF2B5EF4-FFF2-40B4-BE49-F238E27FC236}">
                <a16:creationId xmlns:a16="http://schemas.microsoft.com/office/drawing/2014/main" id="{FE0635B0-071E-478C-AC43-B79857D19E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8000" y="2044700"/>
            <a:ext cx="6115050" cy="3460750"/>
          </a:xfrm>
          <a:prstGeom prst="rect">
            <a:avLst/>
          </a:prstGeom>
          <a:blipFill dpi="0" rotWithShape="1">
            <a:blip r:embed="rId7"/>
            <a:srcRect/>
            <a:stretch>
              <a:fillRect/>
            </a:stretch>
          </a:blipFill>
          <a:ln w="19050" cap="rnd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1240B29-F687-4F45-9708-019B960494DF}">
              <a14:hiddenLine xmlns:a14="http://schemas.microsoft.com/office/drawing/2010/main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B8AD802-4D39-44FF-891F-F11E58BEA02F}"/>
              </a:ext>
            </a:extLst>
          </p:cNvPr>
          <p:cNvSpPr txBox="1">
            <a:spLocks/>
          </p:cNvSpPr>
          <p:nvPr/>
        </p:nvSpPr>
        <p:spPr>
          <a:xfrm>
            <a:off x="470611" y="3561700"/>
            <a:ext cx="1926360" cy="86793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BE" dirty="0"/>
              <a:t>Agenda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FE63CDAD-E326-4335-BE4D-69245B7C4338}"/>
              </a:ext>
            </a:extLst>
          </p:cNvPr>
          <p:cNvSpPr txBox="1">
            <a:spLocks/>
          </p:cNvSpPr>
          <p:nvPr/>
        </p:nvSpPr>
        <p:spPr>
          <a:xfrm>
            <a:off x="470611" y="3561700"/>
            <a:ext cx="4338456" cy="86793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BE" dirty="0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06744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12BBE9BB-D923-425C-B889-4B55CAADBC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8243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12BBE9BB-D923-425C-B889-4B55CAADBC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6">
            <a:extLst>
              <a:ext uri="{FF2B5EF4-FFF2-40B4-BE49-F238E27FC236}">
                <a16:creationId xmlns:a16="http://schemas.microsoft.com/office/drawing/2014/main" id="{89CE91CE-A2E1-4788-91A6-8DDEFA9E5181}"/>
              </a:ext>
            </a:extLst>
          </p:cNvPr>
          <p:cNvSpPr txBox="1">
            <a:spLocks/>
          </p:cNvSpPr>
          <p:nvPr/>
        </p:nvSpPr>
        <p:spPr>
          <a:xfrm>
            <a:off x="404695" y="273884"/>
            <a:ext cx="10339349" cy="74273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solidFill>
                  <a:srgbClr val="418AB3"/>
                </a:solidFill>
                <a:latin typeface="Trebuchet MS" panose="020B0603020202020204"/>
              </a:rPr>
              <a:t>Context: Length of therapy is an important metric in healthcare</a:t>
            </a:r>
            <a:endParaRPr kumimoji="0" lang="en-BE" sz="3200" b="1" i="0" u="none" strike="noStrike" kern="1200" cap="none" spc="0" normalizeH="0" baseline="0" noProof="0" dirty="0">
              <a:ln>
                <a:noFill/>
              </a:ln>
              <a:solidFill>
                <a:srgbClr val="418AB3"/>
              </a:solidFill>
              <a:effectLst/>
              <a:uLnTx/>
              <a:uFillTx/>
              <a:latin typeface="Trebuchet MS" panose="020B0603020202020204"/>
              <a:ea typeface="+mj-ea"/>
              <a:cs typeface="+mj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988EC8D-1441-4D66-8959-A75C2E5BA6CE}"/>
              </a:ext>
            </a:extLst>
          </p:cNvPr>
          <p:cNvGrpSpPr/>
          <p:nvPr/>
        </p:nvGrpSpPr>
        <p:grpSpPr>
          <a:xfrm>
            <a:off x="854610" y="1983453"/>
            <a:ext cx="3035430" cy="3496973"/>
            <a:chOff x="1102936" y="1779267"/>
            <a:chExt cx="3035430" cy="3496973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3273DEE-753F-4346-A383-EE671904158A}"/>
                </a:ext>
              </a:extLst>
            </p:cNvPr>
            <p:cNvSpPr/>
            <p:nvPr/>
          </p:nvSpPr>
          <p:spPr>
            <a:xfrm>
              <a:off x="1102936" y="2325650"/>
              <a:ext cx="3035430" cy="295059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342900" indent="-342900">
                <a:spcBef>
                  <a:spcPts val="1000"/>
                </a:spcBef>
                <a:buClr>
                  <a:schemeClr val="accent5"/>
                </a:buClr>
                <a:buSzPct val="80000"/>
                <a:buFont typeface="Wingdings 3" charset="2"/>
                <a:buChar char=""/>
              </a:pPr>
              <a:r>
                <a:rPr lang="en-US" dirty="0">
                  <a:solidFill>
                    <a:schemeClr val="tx1"/>
                  </a:solidFill>
                </a:rPr>
                <a:t>How long do patients stay on therapy?</a:t>
              </a:r>
            </a:p>
            <a:p>
              <a:pPr marL="342900" indent="-342900">
                <a:spcBef>
                  <a:spcPts val="1000"/>
                </a:spcBef>
                <a:buClr>
                  <a:schemeClr val="accent5"/>
                </a:buClr>
                <a:buSzPct val="80000"/>
                <a:buFont typeface="Wingdings 3" charset="2"/>
                <a:buChar char=""/>
              </a:pPr>
              <a:r>
                <a:rPr lang="en-US" dirty="0">
                  <a:solidFill>
                    <a:schemeClr val="tx1"/>
                  </a:solidFill>
                </a:rPr>
                <a:t>What is the average  (expected value) number of months that patient stays on therapy?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DEE3803-D714-42AB-B973-B2738D2A01F9}"/>
                </a:ext>
              </a:extLst>
            </p:cNvPr>
            <p:cNvSpPr/>
            <p:nvPr/>
          </p:nvSpPr>
          <p:spPr>
            <a:xfrm>
              <a:off x="1102936" y="1779267"/>
              <a:ext cx="3035430" cy="546383"/>
            </a:xfrm>
            <a:prstGeom prst="rect">
              <a:avLst/>
            </a:prstGeom>
            <a:solidFill>
              <a:srgbClr val="5A99BD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verage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23FF61D-1A56-4419-BFD4-6D8BB141A348}"/>
              </a:ext>
            </a:extLst>
          </p:cNvPr>
          <p:cNvGrpSpPr/>
          <p:nvPr/>
        </p:nvGrpSpPr>
        <p:grpSpPr>
          <a:xfrm>
            <a:off x="4542562" y="1983453"/>
            <a:ext cx="3035430" cy="3496973"/>
            <a:chOff x="4589757" y="1779267"/>
            <a:chExt cx="3035430" cy="3496973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C22E38F-174D-4DDF-AF8E-0AF8D14FB7B6}"/>
                </a:ext>
              </a:extLst>
            </p:cNvPr>
            <p:cNvSpPr/>
            <p:nvPr/>
          </p:nvSpPr>
          <p:spPr>
            <a:xfrm>
              <a:off x="4589757" y="2325650"/>
              <a:ext cx="3035430" cy="295059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342900" indent="-342900">
                <a:spcBef>
                  <a:spcPts val="1000"/>
                </a:spcBef>
                <a:buClr>
                  <a:schemeClr val="accent5"/>
                </a:buClr>
                <a:buSzPct val="80000"/>
                <a:buFont typeface="Wingdings 3" charset="2"/>
                <a:buChar char=""/>
              </a:pPr>
              <a:r>
                <a:rPr lang="en-US" dirty="0">
                  <a:solidFill>
                    <a:schemeClr val="tx1"/>
                  </a:solidFill>
                </a:rPr>
                <a:t>HEOR: the overall cost of medication therapy</a:t>
              </a:r>
            </a:p>
            <a:p>
              <a:pPr marL="342900" indent="-342900">
                <a:spcBef>
                  <a:spcPts val="1000"/>
                </a:spcBef>
                <a:buClr>
                  <a:schemeClr val="accent5"/>
                </a:buClr>
                <a:buSzPct val="80000"/>
                <a:buFont typeface="Wingdings 3" charset="2"/>
                <a:buChar char=""/>
              </a:pPr>
              <a:r>
                <a:rPr lang="en-US" dirty="0">
                  <a:solidFill>
                    <a:schemeClr val="tx1"/>
                  </a:solidFill>
                </a:rPr>
                <a:t>Commercial: patient lifetime value contribution to the brand </a:t>
              </a:r>
            </a:p>
            <a:p>
              <a:pPr algn="ctr"/>
              <a:endParaRPr lang="en-US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A82018E-2506-400A-AA0C-146C90FD60E2}"/>
                </a:ext>
              </a:extLst>
            </p:cNvPr>
            <p:cNvSpPr/>
            <p:nvPr/>
          </p:nvSpPr>
          <p:spPr>
            <a:xfrm>
              <a:off x="4589757" y="1779267"/>
              <a:ext cx="3035430" cy="546383"/>
            </a:xfrm>
            <a:prstGeom prst="rect">
              <a:avLst/>
            </a:prstGeom>
            <a:solidFill>
              <a:srgbClr val="5A99BD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ribution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5C58E88-DF0B-4C05-860D-101A8D6F8D6D}"/>
              </a:ext>
            </a:extLst>
          </p:cNvPr>
          <p:cNvGrpSpPr/>
          <p:nvPr/>
        </p:nvGrpSpPr>
        <p:grpSpPr>
          <a:xfrm>
            <a:off x="8230514" y="1983453"/>
            <a:ext cx="3035430" cy="3496973"/>
            <a:chOff x="8207556" y="1779267"/>
            <a:chExt cx="3035430" cy="3496973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50A458F-87EA-45DB-9004-D8C95D416D51}"/>
                </a:ext>
              </a:extLst>
            </p:cNvPr>
            <p:cNvSpPr/>
            <p:nvPr/>
          </p:nvSpPr>
          <p:spPr>
            <a:xfrm>
              <a:off x="8207556" y="2325650"/>
              <a:ext cx="3035430" cy="295059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342900" indent="-342900">
                <a:spcBef>
                  <a:spcPts val="1000"/>
                </a:spcBef>
                <a:buClr>
                  <a:schemeClr val="accent5"/>
                </a:buClr>
                <a:buSzPct val="80000"/>
                <a:buFont typeface="Wingdings 3" charset="2"/>
                <a:buChar char=""/>
              </a:pPr>
              <a:r>
                <a:rPr lang="en-US" dirty="0">
                  <a:solidFill>
                    <a:schemeClr val="tx1"/>
                  </a:solidFill>
                </a:rPr>
                <a:t>For a patient already stayed for </a:t>
              </a:r>
              <a:r>
                <a:rPr lang="en-US" i="1" dirty="0">
                  <a:solidFill>
                    <a:schemeClr val="tx1"/>
                  </a:solidFill>
                </a:rPr>
                <a:t>t*</a:t>
              </a:r>
              <a:r>
                <a:rPr lang="en-US" dirty="0">
                  <a:solidFill>
                    <a:schemeClr val="tx1"/>
                  </a:solidFill>
                </a:rPr>
                <a:t> months, how many more months will the patient remain on therapy?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488C15BE-AF86-4ECA-AB66-8A4F3CF97AA3}"/>
                </a:ext>
              </a:extLst>
            </p:cNvPr>
            <p:cNvSpPr/>
            <p:nvPr/>
          </p:nvSpPr>
          <p:spPr>
            <a:xfrm>
              <a:off x="8207556" y="1779267"/>
              <a:ext cx="3035430" cy="546383"/>
            </a:xfrm>
            <a:prstGeom prst="rect">
              <a:avLst/>
            </a:prstGeom>
            <a:solidFill>
              <a:srgbClr val="5A99BD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Remaining Life</a:t>
              </a:r>
            </a:p>
          </p:txBody>
        </p:sp>
      </p:grpSp>
      <p:pic>
        <p:nvPicPr>
          <p:cNvPr id="26" name="Graphic 25">
            <a:extLst>
              <a:ext uri="{FF2B5EF4-FFF2-40B4-BE49-F238E27FC236}">
                <a16:creationId xmlns:a16="http://schemas.microsoft.com/office/drawing/2014/main" id="{F7F3542E-B62B-4306-901A-2359C68FD62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7261" b="19808"/>
          <a:stretch/>
        </p:blipFill>
        <p:spPr>
          <a:xfrm>
            <a:off x="5725887" y="4676745"/>
            <a:ext cx="740226" cy="640080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C10097B6-F68F-4658-8CA1-7BBDAC0540E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6186" r="10746" b="18099"/>
          <a:stretch/>
        </p:blipFill>
        <p:spPr>
          <a:xfrm>
            <a:off x="1910121" y="4736537"/>
            <a:ext cx="649208" cy="640080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05EE5950-EEAF-444C-9A49-E1110D7180D9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16506" t="4261" r="16553" b="22063"/>
          <a:stretch/>
        </p:blipFill>
        <p:spPr>
          <a:xfrm>
            <a:off x="9558780" y="4736537"/>
            <a:ext cx="581565" cy="64008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70E8BB18-8C69-41BB-BC6B-1A881613B646}"/>
              </a:ext>
            </a:extLst>
          </p:cNvPr>
          <p:cNvSpPr txBox="1"/>
          <p:nvPr/>
        </p:nvSpPr>
        <p:spPr>
          <a:xfrm>
            <a:off x="854610" y="6262044"/>
            <a:ext cx="67233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Forecast by </a:t>
            </a:r>
            <a:r>
              <a:rPr lang="en-US" sz="800" dirty="0" err="1"/>
              <a:t>Kamin</a:t>
            </a:r>
            <a:r>
              <a:rPr lang="en-US" sz="800" dirty="0"/>
              <a:t> </a:t>
            </a:r>
            <a:r>
              <a:rPr lang="en-US" sz="800" dirty="0" err="1"/>
              <a:t>Ginkaew</a:t>
            </a:r>
            <a:r>
              <a:rPr lang="en-US" sz="800" dirty="0"/>
              <a:t> from NounProject.com</a:t>
            </a:r>
          </a:p>
          <a:p>
            <a:r>
              <a:rPr lang="en-US" sz="800" dirty="0"/>
              <a:t>Average by </a:t>
            </a:r>
            <a:r>
              <a:rPr lang="en-US" sz="800" dirty="0" err="1"/>
              <a:t>Becris</a:t>
            </a:r>
            <a:r>
              <a:rPr lang="en-US" sz="800" dirty="0"/>
              <a:t> from NounProject.com</a:t>
            </a:r>
          </a:p>
          <a:p>
            <a:r>
              <a:rPr lang="en-US" sz="800" dirty="0"/>
              <a:t>Stopwatch by kiddo from NounProject.com</a:t>
            </a:r>
          </a:p>
        </p:txBody>
      </p:sp>
    </p:spTree>
    <p:extLst>
      <p:ext uri="{BB962C8B-B14F-4D97-AF65-F5344CB8AC3E}">
        <p14:creationId xmlns:p14="http://schemas.microsoft.com/office/powerpoint/2010/main" val="35200588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EB490F43-A184-40E7-9021-6012E981D3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3161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4" progId="TCLayout.ActiveDocument.1">
                  <p:embed/>
                </p:oleObj>
              </mc:Choice>
              <mc:Fallback>
                <p:oleObj name="think-cell Slide" r:id="rId8" imgW="425" imgH="42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EB490F43-A184-40E7-9021-6012E981D3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E1E20DCC-40B3-4DCB-9CED-750C52A4D7B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093968"/>
              </p:ext>
            </p:extLst>
          </p:nvPr>
        </p:nvGraphicFramePr>
        <p:xfrm>
          <a:off x="2776538" y="938684"/>
          <a:ext cx="6804025" cy="4814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E5E02D-A68D-4E9B-91AD-C99458D4D43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158868" y="4295107"/>
            <a:ext cx="25003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E391E4-FEAF-47E3-8856-4E56A9867591}" type="datetime'K''a''''''p''''''''''l''''''a''''''n'' Me''''i''''e''''''''r'">
              <a:rPr lang="en-US" altLang="en-US" smtClean="0">
                <a:solidFill>
                  <a:schemeClr val="tx1"/>
                </a:solidFill>
              </a:rPr>
              <a:pPr/>
              <a:t>Kaplan Meier</a:t>
            </a:fld>
            <a:r>
              <a:rPr lang="en-US" altLang="en-US" dirty="0">
                <a:solidFill>
                  <a:schemeClr val="tx1"/>
                </a:solidFill>
              </a:rPr>
              <a:t> (Actual Data)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0A95D57-EA5B-435D-A2A8-68B804F2413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492331" y="3429000"/>
            <a:ext cx="15351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dirty="0">
                <a:solidFill>
                  <a:srgbClr val="C30C3E"/>
                </a:solidFill>
              </a:rPr>
              <a:t>What we want</a:t>
            </a:r>
            <a:endParaRPr lang="en-US" dirty="0">
              <a:solidFill>
                <a:srgbClr val="C30C3E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F7654B0-C015-4137-A8BA-5E87D9D0A1F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589588" y="5829771"/>
            <a:ext cx="16335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dirty="0">
                <a:solidFill>
                  <a:schemeClr val="tx1"/>
                </a:solidFill>
                <a:effectLst/>
              </a:rPr>
              <a:t>Months (28 Days)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1D47906-646B-494A-91EF-02F976D37AB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647825" y="938684"/>
            <a:ext cx="11287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dirty="0">
                <a:solidFill>
                  <a:schemeClr val="tx1"/>
                </a:solidFill>
                <a:effectLst/>
              </a:rPr>
              <a:t>% Persisten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00B6E8D0-A732-4EB2-9394-2DA2ECBDF91C}"/>
              </a:ext>
            </a:extLst>
          </p:cNvPr>
          <p:cNvSpPr txBox="1">
            <a:spLocks/>
          </p:cNvSpPr>
          <p:nvPr/>
        </p:nvSpPr>
        <p:spPr>
          <a:xfrm>
            <a:off x="404695" y="0"/>
            <a:ext cx="10339349" cy="74273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solidFill>
                  <a:srgbClr val="418AB3"/>
                </a:solidFill>
                <a:latin typeface="Trebuchet MS" panose="020B0603020202020204"/>
              </a:rPr>
              <a:t>What is the average length of therapy?</a:t>
            </a:r>
            <a:endParaRPr kumimoji="0" lang="en-BE" sz="3200" b="1" i="0" u="none" strike="noStrike" kern="1200" cap="none" spc="0" normalizeH="0" baseline="0" noProof="0" dirty="0">
              <a:ln>
                <a:noFill/>
              </a:ln>
              <a:solidFill>
                <a:srgbClr val="418AB3"/>
              </a:solidFill>
              <a:effectLst/>
              <a:uLnTx/>
              <a:uFillTx/>
              <a:latin typeface="Trebuchet MS" panose="020B0603020202020204"/>
              <a:ea typeface="+mj-ea"/>
              <a:cs typeface="+mj-cs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ABD95A92-6BC6-4484-ABB6-B87B4819E506}"/>
              </a:ext>
            </a:extLst>
          </p:cNvPr>
          <p:cNvSpPr/>
          <p:nvPr/>
        </p:nvSpPr>
        <p:spPr>
          <a:xfrm>
            <a:off x="215153" y="2306878"/>
            <a:ext cx="2307763" cy="2125548"/>
          </a:xfrm>
          <a:prstGeom prst="roundRect">
            <a:avLst>
              <a:gd name="adj" fmla="val 0"/>
            </a:avLst>
          </a:prstGeom>
          <a:solidFill>
            <a:srgbClr val="F6F7F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dirty="0">
                <a:solidFill>
                  <a:schemeClr val="tx1"/>
                </a:solidFill>
              </a:rPr>
              <a:t>K-M:  ~45% of patients are still persistent with the medication at month 9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i="1" dirty="0">
                <a:solidFill>
                  <a:srgbClr val="5A99BD"/>
                </a:solidFill>
              </a:rPr>
              <a:t>But this does not answer the question</a:t>
            </a:r>
          </a:p>
        </p:txBody>
      </p:sp>
      <p:sp>
        <p:nvSpPr>
          <p:cNvPr id="2" name="Right Brace 1">
            <a:extLst>
              <a:ext uri="{FF2B5EF4-FFF2-40B4-BE49-F238E27FC236}">
                <a16:creationId xmlns:a16="http://schemas.microsoft.com/office/drawing/2014/main" id="{61A342A0-A0AD-4017-B752-E246A5BC1EC9}"/>
              </a:ext>
            </a:extLst>
          </p:cNvPr>
          <p:cNvSpPr/>
          <p:nvPr/>
        </p:nvSpPr>
        <p:spPr>
          <a:xfrm>
            <a:off x="3949127" y="1098268"/>
            <a:ext cx="434717" cy="1449056"/>
          </a:xfrm>
          <a:prstGeom prst="rightBrac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0852C1C-9D3B-4743-8BED-4E9970226F76}"/>
              </a:ext>
            </a:extLst>
          </p:cNvPr>
          <p:cNvSpPr txBox="1"/>
          <p:nvPr/>
        </p:nvSpPr>
        <p:spPr>
          <a:xfrm>
            <a:off x="4446177" y="1610533"/>
            <a:ext cx="21327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% Drop significant at Month 1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A3A12ED2-F94E-43E3-9E9F-B445AD8CC6ED}"/>
              </a:ext>
            </a:extLst>
          </p:cNvPr>
          <p:cNvSpPr/>
          <p:nvPr/>
        </p:nvSpPr>
        <p:spPr>
          <a:xfrm>
            <a:off x="6770225" y="1118602"/>
            <a:ext cx="2636668" cy="2014664"/>
          </a:xfrm>
          <a:prstGeom prst="roundRect">
            <a:avLst>
              <a:gd name="adj" fmla="val 0"/>
            </a:avLst>
          </a:prstGeom>
          <a:solidFill>
            <a:srgbClr val="F6F7F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rgbClr val="418AB3"/>
              </a:buClr>
            </a:pPr>
            <a:r>
              <a:rPr lang="en-US" dirty="0">
                <a:solidFill>
                  <a:srgbClr val="5A99BD"/>
                </a:solidFill>
              </a:rPr>
              <a:t>A probability distribution, with all the statistical properties, that can capture the underlying data generating process (DGP)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9CD38C6-C9E0-4317-838C-5F56857C8613}"/>
              </a:ext>
            </a:extLst>
          </p:cNvPr>
          <p:cNvSpPr txBox="1">
            <a:spLocks/>
          </p:cNvSpPr>
          <p:nvPr/>
        </p:nvSpPr>
        <p:spPr>
          <a:xfrm>
            <a:off x="404695" y="471678"/>
            <a:ext cx="11339946" cy="369332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1"/>
                </a:solidFill>
              </a:rPr>
              <a:t>Fitting probability distribution helps to estimate the mean and other properties</a:t>
            </a:r>
          </a:p>
        </p:txBody>
      </p:sp>
    </p:spTree>
    <p:extLst>
      <p:ext uri="{BB962C8B-B14F-4D97-AF65-F5344CB8AC3E}">
        <p14:creationId xmlns:p14="http://schemas.microsoft.com/office/powerpoint/2010/main" val="27183328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2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3" grpId="0" uiExpand="1">
        <p:bldSub>
          <a:bldChart bld="series"/>
        </p:bldSub>
      </p:bldGraphic>
      <p:bldP spid="10" grpId="0"/>
      <p:bldP spid="11" grpId="0"/>
      <p:bldP spid="18" grpId="0" animBg="1"/>
      <p:bldP spid="2" grpId="0" animBg="1"/>
      <p:bldP spid="3" grpId="0"/>
      <p:bldP spid="2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95B6064-96F1-4096-9978-4F222CA600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95B6064-96F1-4096-9978-4F222CA60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CEEADF-B9F6-457A-91F6-7ECEC6358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4E3A7-135D-0C4C-A9A7-E9F09DD633CC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Grunt object a0660ab377c17bc3e51525e91b49e7f8">
            <a:extLst>
              <a:ext uri="{FF2B5EF4-FFF2-40B4-BE49-F238E27FC236}">
                <a16:creationId xmlns:a16="http://schemas.microsoft.com/office/drawing/2014/main" id="{FE0635B0-071E-478C-AC43-B79857D19E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8000" y="2044700"/>
            <a:ext cx="6115050" cy="3460750"/>
          </a:xfrm>
          <a:prstGeom prst="rect">
            <a:avLst/>
          </a:prstGeom>
          <a:blipFill dpi="0" rotWithShape="1">
            <a:blip r:embed="rId7"/>
            <a:srcRect/>
            <a:stretch>
              <a:fillRect/>
            </a:stretch>
          </a:blipFill>
          <a:ln w="19050" cap="rnd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1240B29-F687-4F45-9708-019B960494DF}">
              <a14:hiddenLine xmlns:a14="http://schemas.microsoft.com/office/drawing/2010/main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B8AD802-4D39-44FF-891F-F11E58BEA02F}"/>
              </a:ext>
            </a:extLst>
          </p:cNvPr>
          <p:cNvSpPr txBox="1">
            <a:spLocks/>
          </p:cNvSpPr>
          <p:nvPr/>
        </p:nvSpPr>
        <p:spPr>
          <a:xfrm>
            <a:off x="470611" y="3561700"/>
            <a:ext cx="1926360" cy="86793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BE" dirty="0"/>
              <a:t>Agenda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FE63CDAD-E326-4335-BE4D-69245B7C4338}"/>
              </a:ext>
            </a:extLst>
          </p:cNvPr>
          <p:cNvSpPr txBox="1">
            <a:spLocks/>
          </p:cNvSpPr>
          <p:nvPr/>
        </p:nvSpPr>
        <p:spPr>
          <a:xfrm>
            <a:off x="470611" y="3561700"/>
            <a:ext cx="4338456" cy="86793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BE" dirty="0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899632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3A93E28-6044-4A77-950C-C82A7A2B27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4" progId="TCLayout.ActiveDocument.1">
                  <p:embed/>
                </p:oleObj>
              </mc:Choice>
              <mc:Fallback>
                <p:oleObj name="think-cell Slide" r:id="rId9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3A93E28-6044-4A77-950C-C82A7A2B27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1320096B-8FEF-DA47-B4BE-108A90B77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304" y="85522"/>
            <a:ext cx="10339349" cy="742733"/>
          </a:xfrm>
        </p:spPr>
        <p:txBody>
          <a:bodyPr vert="horz">
            <a:normAutofit/>
          </a:bodyPr>
          <a:lstStyle/>
          <a:p>
            <a:r>
              <a:rPr lang="en-US" sz="3200" b="1" dirty="0"/>
              <a:t>Answering the question</a:t>
            </a:r>
            <a:endParaRPr lang="en-BE" sz="3200" b="1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0FCA27B-A32B-4631-8E8B-BA38DB6A6923}"/>
              </a:ext>
            </a:extLst>
          </p:cNvPr>
          <p:cNvSpPr/>
          <p:nvPr/>
        </p:nvSpPr>
        <p:spPr>
          <a:xfrm>
            <a:off x="5248369" y="1879408"/>
            <a:ext cx="4035426" cy="742733"/>
          </a:xfrm>
          <a:prstGeom prst="roundRect">
            <a:avLst>
              <a:gd name="adj" fmla="val 0"/>
            </a:avLst>
          </a:prstGeom>
          <a:solidFill>
            <a:srgbClr val="F6F7F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</a:rPr>
              <a:t>We need to get more creative!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88EA667-8BBF-4414-97E5-00DD761C4C8F}"/>
              </a:ext>
            </a:extLst>
          </p:cNvPr>
          <p:cNvSpPr txBox="1">
            <a:spLocks/>
          </p:cNvSpPr>
          <p:nvPr/>
        </p:nvSpPr>
        <p:spPr>
          <a:xfrm>
            <a:off x="678304" y="712294"/>
            <a:ext cx="9398950" cy="68295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 fontScale="92500" lnSpcReduction="20000"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ea typeface="+mj-ea"/>
                <a:cs typeface="+mj-cs"/>
              </a:rPr>
              <a:t>Our arsenal of standard probability distributions does not fit the data well</a:t>
            </a:r>
          </a:p>
        </p:txBody>
      </p:sp>
      <p:graphicFrame>
        <p:nvGraphicFramePr>
          <p:cNvPr id="150" name="Chart 149">
            <a:extLst>
              <a:ext uri="{FF2B5EF4-FFF2-40B4-BE49-F238E27FC236}">
                <a16:creationId xmlns:a16="http://schemas.microsoft.com/office/drawing/2014/main" id="{200301E8-9337-436B-BA59-21A4CE650B20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466850" y="1766888"/>
          <a:ext cx="6491288" cy="3852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F199ECD-31F1-4803-8A96-65471D00355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88701" y="3973459"/>
            <a:ext cx="1030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59832EE-EFFF-4B90-8802-11E338A8B6B3}" type="datetime'K''a''''pl''''''''a''''n ''''''''M''''ei''''''''''''''er'''''">
              <a:rPr lang="en-US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Kaplan Meier</a:t>
            </a:fld>
            <a:endParaRPr lang="en-US" sz="1400" dirty="0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A8B3E465-EA16-49BF-83B3-960B2C0E1FE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71488" y="1789113"/>
            <a:ext cx="944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% Persistent</a:t>
            </a:r>
            <a:endParaRPr lang="en-US" sz="1400" dirty="0"/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EBEA2467-CDD6-42CD-95A2-C09C5A6D493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186238" y="5718175"/>
            <a:ext cx="1343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Months (28 Days)</a:t>
            </a:r>
            <a:endParaRPr lang="en-US" sz="14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FDCA53EC-00BE-4A36-BE46-82E2FDB7B79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958138" y="4610210"/>
            <a:ext cx="9350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40C582-8CA6-40DA-BFB0-D1F1F2CE9B5B}" type="datetime'''E''''x''''''p''o''''''n''''e''''''''''''nti''a''''''l'''">
              <a:rPr lang="en-US" altLang="en-US" sz="1400" smtClean="0">
                <a:solidFill>
                  <a:schemeClr val="accent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xponential</a:t>
            </a:fld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A8EBE07-64C5-4D02-B735-D6B6FEB9A10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893050" y="4300538"/>
            <a:ext cx="830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CC00DCD-AF27-44B9-AC60-16F6C008D7D7}" type="datetime'''''''''''''Lo''''''''gno''''''''r''ma''''l'''''''''''''">
              <a:rPr lang="en-US" altLang="en-US" sz="1400" smtClean="0">
                <a:solidFill>
                  <a:schemeClr val="accent3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ognormal</a:t>
            </a:fld>
            <a:endParaRPr lang="en-US" sz="1400" dirty="0">
              <a:solidFill>
                <a:schemeClr val="accent3"/>
              </a:solidFill>
            </a:endParaRPr>
          </a:p>
        </p:txBody>
      </p:sp>
      <p:sp>
        <p:nvSpPr>
          <p:cNvPr id="145" name="Speech Bubble: Rectangle 144">
            <a:extLst>
              <a:ext uri="{FF2B5EF4-FFF2-40B4-BE49-F238E27FC236}">
                <a16:creationId xmlns:a16="http://schemas.microsoft.com/office/drawing/2014/main" id="{9302A03B-4667-4F96-86D7-C03FDBE492EF}"/>
              </a:ext>
            </a:extLst>
          </p:cNvPr>
          <p:cNvSpPr/>
          <p:nvPr/>
        </p:nvSpPr>
        <p:spPr>
          <a:xfrm>
            <a:off x="2712946" y="4350261"/>
            <a:ext cx="1660617" cy="805200"/>
          </a:xfrm>
          <a:prstGeom prst="wedgeRectCallout">
            <a:avLst>
              <a:gd name="adj1" fmla="val -65347"/>
              <a:gd name="adj2" fmla="val -192537"/>
            </a:avLst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nable to capture Month 1 drop</a:t>
            </a:r>
            <a:endParaRPr lang="en-US" sz="14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4016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50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50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50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Graphic spid="150" grpId="0" uiExpand="1">
        <p:bldSub>
          <a:bldChart bld="series"/>
        </p:bldSub>
      </p:bldGraphic>
      <p:bldP spid="26" grpId="0"/>
      <p:bldP spid="14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BE13D07-1EE0-4ACF-B8E6-DB4BE82916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287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BE13D07-1EE0-4ACF-B8E6-DB4BE82916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0629D19-594D-442A-B9F9-3D07570E13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027" y="160763"/>
            <a:ext cx="8596668" cy="1320800"/>
          </a:xfrm>
        </p:spPr>
        <p:txBody>
          <a:bodyPr vert="horz"/>
          <a:lstStyle/>
          <a:p>
            <a:r>
              <a:rPr lang="en-US" dirty="0"/>
              <a:t>Some issues corelated with steep 1</a:t>
            </a:r>
            <a:r>
              <a:rPr lang="en-US" baseline="30000" dirty="0"/>
              <a:t>st</a:t>
            </a:r>
            <a:r>
              <a:rPr lang="en-US" dirty="0"/>
              <a:t> month dro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BB9A03-F048-4CFC-94AC-0A878A6898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AA6E1B-C8CF-4B0A-816F-43D8052C5AA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26027" y="1738301"/>
            <a:ext cx="11339946" cy="4695825"/>
          </a:xfrm>
        </p:spPr>
        <p:txBody>
          <a:bodyPr/>
          <a:lstStyle/>
          <a:p>
            <a:r>
              <a:rPr lang="en-US" sz="1800" dirty="0">
                <a:solidFill>
                  <a:schemeClr val="tx1"/>
                </a:solidFill>
              </a:rPr>
              <a:t>Doctors trying to find the effective medication</a:t>
            </a:r>
          </a:p>
          <a:p>
            <a:r>
              <a:rPr lang="en-US" sz="1800" dirty="0">
                <a:solidFill>
                  <a:schemeClr val="tx1"/>
                </a:solidFill>
              </a:rPr>
              <a:t>Patients reporting side effects</a:t>
            </a:r>
          </a:p>
          <a:p>
            <a:r>
              <a:rPr lang="en-US" sz="1800" dirty="0">
                <a:solidFill>
                  <a:schemeClr val="tx1"/>
                </a:solidFill>
              </a:rPr>
              <a:t>Doctors and patients treating the disease acutely and not chronically</a:t>
            </a:r>
          </a:p>
          <a:p>
            <a:r>
              <a:rPr lang="en-US" sz="1800" dirty="0">
                <a:solidFill>
                  <a:schemeClr val="tx1"/>
                </a:solidFill>
              </a:rPr>
              <a:t>Somewhat unique to pharmaceuticals   </a:t>
            </a:r>
          </a:p>
          <a:p>
            <a:pPr marL="0" indent="0">
              <a:buNone/>
            </a:pPr>
            <a:endParaRPr lang="en-US" sz="1800" dirty="0">
              <a:solidFill>
                <a:schemeClr val="tx1"/>
              </a:solidFill>
            </a:endParaRPr>
          </a:p>
          <a:p>
            <a:endParaRPr lang="en-US" sz="1800" dirty="0">
              <a:solidFill>
                <a:schemeClr val="tx1"/>
              </a:solidFill>
            </a:endParaRPr>
          </a:p>
          <a:p>
            <a:endParaRPr lang="en-US" sz="1800" dirty="0">
              <a:solidFill>
                <a:schemeClr val="tx1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431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95B6064-96F1-4096-9978-4F222CA600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95B6064-96F1-4096-9978-4F222CA60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CEEADF-B9F6-457A-91F6-7ECEC6358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4E3A7-135D-0C4C-A9A7-E9F09DD633CC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Grunt object c564ae25245dd894923e76f5b78a788a">
            <a:extLst>
              <a:ext uri="{FF2B5EF4-FFF2-40B4-BE49-F238E27FC236}">
                <a16:creationId xmlns:a16="http://schemas.microsoft.com/office/drawing/2014/main" id="{FE0635B0-071E-478C-AC43-B79857D19E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8000" y="2044700"/>
            <a:ext cx="6115050" cy="3460750"/>
          </a:xfrm>
          <a:prstGeom prst="rect">
            <a:avLst/>
          </a:prstGeom>
          <a:blipFill dpi="0" rotWithShape="1">
            <a:blip r:embed="rId7"/>
            <a:srcRect/>
            <a:stretch>
              <a:fillRect/>
            </a:stretch>
          </a:blipFill>
          <a:ln w="19050" cap="rnd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1240B29-F687-4F45-9708-019B960494DF}">
              <a14:hiddenLine xmlns:a14="http://schemas.microsoft.com/office/drawing/2010/main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B8AD802-4D39-44FF-891F-F11E58BEA02F}"/>
              </a:ext>
            </a:extLst>
          </p:cNvPr>
          <p:cNvSpPr txBox="1">
            <a:spLocks/>
          </p:cNvSpPr>
          <p:nvPr/>
        </p:nvSpPr>
        <p:spPr>
          <a:xfrm>
            <a:off x="470611" y="3561700"/>
            <a:ext cx="1926360" cy="86793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BE" dirty="0"/>
              <a:t>Agenda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FE63CDAD-E326-4335-BE4D-69245B7C4338}"/>
              </a:ext>
            </a:extLst>
          </p:cNvPr>
          <p:cNvSpPr txBox="1">
            <a:spLocks/>
          </p:cNvSpPr>
          <p:nvPr/>
        </p:nvSpPr>
        <p:spPr>
          <a:xfrm>
            <a:off x="470611" y="3561700"/>
            <a:ext cx="4338456" cy="86793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BE" dirty="0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866896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1.38509999999999999787E+00&quot;&gt;&lt;m_msothmcolidx val=&quot;0&quot;/&gt;&lt;m_rgb r=&quot;1F&quot; g=&quot;40&quot; b=&quot;FF&quot;/&gt;&lt;/elem&gt;&lt;elem m_fUsage=&quot;1.00000000000000000000E+00&quot;&gt;&lt;m_msothmcolidx val=&quot;0&quot;/&gt;&lt;m_rgb r=&quot;7F&quot; g=&quot;7F&quot; b=&quot;7F&quot;/&gt;&lt;/elem&gt;&lt;elem m_fUsage=&quot;9.00000000000000022204E-01&quot;&gt;&lt;m_msothmcolidx val=&quot;0&quot;/&gt;&lt;m_rgb r=&quot;C5&quot; g=&quot;16&quot; b=&quot;46&quot;/&gt;&lt;/elem&gt;&lt;elem m_fUsage=&quot;8.10000000000000053291E-01&quot;&gt;&lt;m_msothmcolidx val=&quot;0&quot;/&gt;&lt;m_rgb r=&quot;63&quot; g=&quot;9F&quot; b=&quot;D7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  <p:tag name="GRUNT-HP-8SKSG9" val="CQMAAA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hIQ2DuvJ5gwsBZYl8k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PR4xrNYwliUVZKo5_p_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eytTGU2OC8HyyTBLA_4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0uRZZwH13g6BvNtF_O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yDY5_drPboy_2CXeaX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54a83aff-0bf9-4d65-ac87-71cbebf0299c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0b7766ee-9bb1-4d14-9e0d-e071ac2281a3"/>
  <p:tag name="GRUNT-X-SHAPEBOUNDS" val="ASIBBAAAAAAAAG5AAAAAAAAgZEAAAAAAABh+QAAAAAAACHFAAA=="/>
  <p:tag name="GRUNT-X-PAGEOBJECT" val="AQUC4gMKQEFsdHVhLk9hay5Db3JlLkRvY3VtZW50TW9kZWwuQWdlbmRhQ2hhcHRlck9iamVjdCwgQWx0dWEuT2FrLkNvcmUFAiEEEgQQSnj5VnJa6E2IrhFNzj3zag0MFREFHRglHC0gMQEMCQUlCg0tChUxDRZQQWx0dWEuT2FrLkNvcmUuRG9jdW1lbnRNb2RlbC5UZW1wbGF0aW5nLkN1c3RvbVBvc2l0aW9uRGVmaW5pdGlvbiwgQWx0dWEuT2FrLkNvcmURBSQEIgEEAAAAAAAAbkAAAAAAAEBkQAAAAAAAAH5AAAAAAADgcEAYAgU4HAQEAgU8IAsFQAwFZW4tVVMVRCotQWx0dWEuRGF0YS5JbmZyYXN0cnVjdHVyZS5UZXh0UnVuLCBBbHR1YS5EYXRhJQoiBB5MaW1pdGF0aW9ucyBvZiBjdXJyZW50IE1ldGhvZHMNSC0KDwQLUmVzcG9uc2libGUNTDYuQWx0dWEuRGF0YS5JbmZyYXN0cnVjdHVyZS5FbXB0eVJ1biwgQWx0dWEuRGF0YTENADgAPAIBAEAJBAEuDAEsFAEkRAkEBWVuLVVTCABIFAQAHAAkACwANAA8AEQCBQBMAFQATBQEABwAJAAsADQAPABEAgUATABUAA=="/>
  <p:tag name="GRUNT-RENDERHASH" val="a0660ab377c17bc3e51525e91b49e7f8"/>
  <p:tag name="GRUNT-X-RESOURCES" val="AQIFBP0KBAQBAQkDDktBbHR1YS5PYWsuQ29yZS5SZXNvdXJjZXMuUmVzb3VyY2VJdGVtcy5BZ2VuZGFNYXN0ZXJSZXNvdXJjZSwgQWx0dWEuT2FrLkNvcmUJAw8EBBQCBRANFQYVHQgdJQoQECz4FiF6WEVEnPRnfhYYxtMaPUFsdHVhLk9hay5Db3JlLkFnZW5kYS5TdGFuZGFyZEFnZW5kYVN0cnVjdHVyZSwgQWx0dWEuT2FrLkNvcmUVBgIFLCI+QWx0dWEuT2FrLkNvcmUuQWdlbmRhLlZlcnRpY2FsTGlzdEFnZW5kYURlc2lnbiwgQWx0dWEuT2FrLkNvcmUdCAAqS0FsdHVhLk9hay5Db3JlLk1vZGlmaWNhdGlvbi5TdHlsaW5nLlN0YXRpY0FnZW5kYU9iamVjdFN0eWxlLCBBbHR1YS5PYWsuQ29yZSUKDgUwDTQVOB08JUAtRDVILAFMMAQEAgVQNAQEAgVUOAQEAgVYPAQEAgVcQAQEAgVgRAQEAgVkSAQEAgVoTBIEEGhv33b3Yx9EsIYpRL/SMblQAgEAVA0BCGxwdHh8gAGEAYgBWAIBAFwCAQBgAgEAZAQBAYwBaAIBAGwIBZEBJQ2ZASdwCAWRASUNoQEndAgFkQElDaUBJ3gIBZEBJQ2pASd8CAWRASUNrQEngAEIBZEBJQ2xASeEAQgFkQElDbUBJ4gBCAWRASUNuQEnjAEIBb0BMA3FATKWAVFBbHR1YS5PYWsuQ29yZS5Nb2RpZmljYXRpb24uU3R5bGluZy5UZXh0V2l0aGluQ3VzdG9taXphdGlvblRhcmdldCwgQWx0dWEuT2FrLkNvcmWRASUEBc0BMJ4BQkFsdHVhLk9hay5Db3JlLlN5bnRheFN0cnVjdHVyZS5BY3R1YWxGb250U2l6ZVZhbHVlLCBBbHR1YS5PYWsuQ29yZZkBJwkDAAAAAAAAKEChAScJAwAAAAAAACpApQEnCQMAAAAAAAAsQKkBJwkDAAAAAAAALkCtAScJAwAAAAAAADBAsQEnCQMAAAAAAAAxQLUBJwkDAAAAAAAAMkC5AScJAwAAAAAAADNAwgFVQWx0dWEuT2FrLkNvcmUuTW9kaWZpY2F0aW9uLlN0eWxpbmcuQWxsQ29tcG9zaXRpb25DdXN0b21pemF0aW9uVGFyZ2V0LCBBbHR1YS5PYWsuQ29yZb0BMAUEAwXQAcoBN0FsdHVhLk9hay5Db3JlLlRoZW1pbmcuUGFnZUNvbG9yUG9pbnRlciwgQWx0dWEuT2FrLkNvcmXFATIEAAEIAM0BMAUEAwXUAdABCAEC2QE34QE31AEIAQLlATrtATzeAVRBbHR1YS5PYWsuQ29yZS5Nb2RpZmljYXRpb24uU3R5bGluZy5EZXNjZW5kYW50c09mQ3VzdG9taXphdGlvblRhcmdldCwgQWx0dWEuT2FrLkNvcmXZATcEBfUBPuEBNwQF7QE86gFSQWx0dWEuT2FrLkNvcmUuTW9kaWZpY2F0aW9uLlN0eWxpbmcuTm9uR3JhcGhpY3NDdXN0b21pemF0aW9uVGFyZ2V0LCBBbHR1YS5PYWsuQ29yZeUBOgDyAVRBbHR1YS5PYWsuQ29yZS5Nb2RpZmljYXRpb24uU3R5bGluZy5BZ2VuZGFDaGFwdGVyQ3VzdG9taXphdGlvblRhcmdldCwgQWx0dWEuT2FrLkNvcmXtATwJAQEJABQDBfwB+gFTQWx0dWEuT2FrLkNvcmUuTW9kaWZpY2F0aW9uLlN0eWxpbmcuQWdlbmRhQ29sdW1uQ3VzdG9taXphdGlvblRhcmdldCwgQWx0dWEuT2FrLkNvcmX1AT4FBAMFgAL8AQIBAIACAwEBTA=="/>
  <p:tag name="GRUNT-VERSION" val="20.22.71.0"/>
  <p:tag name="GRUNT-SYNC" val="aa5c1fedbae14558bfbe69a41989ca5c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8yzKRewP8e73S2jju5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7GRrIgvyHgvxW2_b_6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zyNSP17aAEpW26nNsx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cFzEh27QeNcAkb4sSpm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Yy3G4vd6lLMPxMZTv51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fUdExdMjsw3j.IbNdn.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3aface55-1156-45c3-aa7d-95e01de06a1f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0b7766ee-9bb1-4d14-9e0d-e071ac2281a3"/>
  <p:tag name="GRUNT-X-SHAPEBOUNDS" val="ASIBBAAAAAAAAG5AAAAAAAAgZEAAAAAAABh+QAAAAAAACHFAAA=="/>
  <p:tag name="GRUNT-X-PAGEOBJECT" val="AQUC2AMKQEFsdHVhLk9hay5Db3JlLkRvY3VtZW50TW9kZWwuQWdlbmRhQ2hhcHRlck9iamVjdCwgQWx0dWEuT2FrLkNvcmUFAiEEEgQQ7NuwbJQGqUiCyju/d+8Ljw0MFREFHRglHC0gMQEMCQUlCg0tChUxDRZQQWx0dWEuT2FrLkNvcmUuRG9jdW1lbnRNb2RlbC5UZW1wbGF0aW5nLkN1c3RvbVBvc2l0aW9uRGVmaW5pdGlvbiwgQWx0dWEuT2FrLkNvcmURBSQEIgEEAAAAAAAAbkAAAAAAAEBkQAAAAAAAAH5AAAAAAADgcEAYAgU4HAQEAgU8IAsFQAwFZW4tVVMVRCotQWx0dWEuRGF0YS5JbmZyYXN0cnVjdHVyZS5UZXh0UnVuLCBBbHR1YS5EYXRhJQoYBBRQcm9wb3NlZCBNZXRoZWRvbG9neQ1ILQoPBAtSZXNwb25zaWJsZQ1MNi5BbHR1YS5EYXRhLkluZnJhc3RydWN0dXJlLkVtcHR5UnVuLCBBbHR1YS5EYXRhMQ0AOAA8AgEAQAkEAS4MASwUASRECQQFZW4tVVMIAEgUBAAcACQALAA0ADwARAIFAEwAVABMFAQAHAAkACwANAA8AEQCBQBMAFQA"/>
  <p:tag name="GRUNT-RENDERHASH" val="c564ae25245dd894923e76f5b78a788a"/>
  <p:tag name="GRUNT-X-RESOURCES" val="AQIFBP0KBAQBAQkDDktBbHR1YS5PYWsuQ29yZS5SZXNvdXJjZXMuUmVzb3VyY2VJdGVtcy5BZ2VuZGFNYXN0ZXJSZXNvdXJjZSwgQWx0dWEuT2FrLkNvcmUJAw8EBBQCBRANFQYVHQgdJQoQECz4FiF6WEVEnPRnfhYYxtMaPUFsdHVhLk9hay5Db3JlLkFnZW5kYS5TdGFuZGFyZEFnZW5kYVN0cnVjdHVyZSwgQWx0dWEuT2FrLkNvcmUVBgIFLCI+QWx0dWEuT2FrLkNvcmUuQWdlbmRhLlZlcnRpY2FsTGlzdEFnZW5kYURlc2lnbiwgQWx0dWEuT2FrLkNvcmUdCAAqS0FsdHVhLk9hay5Db3JlLk1vZGlmaWNhdGlvbi5TdHlsaW5nLlN0YXRpY0FnZW5kYU9iamVjdFN0eWxlLCBBbHR1YS5PYWsuQ29yZSUKDgUwDTQVOB08JUAtRDVILAFMMAQEAgVQNAQEAgVUOAQEAgVYPAQEAgVcQAQEAgVgRAQEAgVkSAQEAgVoTBIEEGhv33b3Yx9EsIYpRL/SMblQAgEAVA0BCGxwdHh8gAGEAYgBWAIBAFwCAQBgAgEAZAQBAYwBaAIBAGwIBZEBJQ2ZASdwCAWRASUNoQEndAgFkQElDaUBJ3gIBZEBJQ2pASd8CAWRASUNrQEngAEIBZEBJQ2xASeEAQgFkQElDbUBJ4gBCAWRASUNuQEnjAEIBb0BMA3FATKWAVFBbHR1YS5PYWsuQ29yZS5Nb2RpZmljYXRpb24uU3R5bGluZy5UZXh0V2l0aGluQ3VzdG9taXphdGlvblRhcmdldCwgQWx0dWEuT2FrLkNvcmWRASUEBc0BMJ4BQkFsdHVhLk9hay5Db3JlLlN5bnRheFN0cnVjdHVyZS5BY3R1YWxGb250U2l6ZVZhbHVlLCBBbHR1YS5PYWsuQ29yZZkBJwkDAAAAAAAAKEChAScJAwAAAAAAACpApQEnCQMAAAAAAAAsQKkBJwkDAAAAAAAALkCtAScJAwAAAAAAADBAsQEnCQMAAAAAAAAxQLUBJwkDAAAAAAAAMkC5AScJAwAAAAAAADNAwgFVQWx0dWEuT2FrLkNvcmUuTW9kaWZpY2F0aW9uLlN0eWxpbmcuQWxsQ29tcG9zaXRpb25DdXN0b21pemF0aW9uVGFyZ2V0LCBBbHR1YS5PYWsuQ29yZb0BMAUEAwXQAcoBN0FsdHVhLk9hay5Db3JlLlRoZW1pbmcuUGFnZUNvbG9yUG9pbnRlciwgQWx0dWEuT2FrLkNvcmXFATIEAAEIAM0BMAUEAwXUAdABCAEC2QE34QE31AEIAQLlATrtATzeAVRBbHR1YS5PYWsuQ29yZS5Nb2RpZmljYXRpb24uU3R5bGluZy5EZXNjZW5kYW50c09mQ3VzdG9taXphdGlvblRhcmdldCwgQWx0dWEuT2FrLkNvcmXZATcEBfUBPuEBNwQF7QE86gFSQWx0dWEuT2FrLkNvcmUuTW9kaWZpY2F0aW9uLlN0eWxpbmcuTm9uR3JhcGhpY3NDdXN0b21pemF0aW9uVGFyZ2V0LCBBbHR1YS5PYWsuQ29yZeUBOgDyAVRBbHR1YS5PYWsuQ29yZS5Nb2RpZmljYXRpb24uU3R5bGluZy5BZ2VuZGFDaGFwdGVyQ3VzdG9taXphdGlvblRhcmdldCwgQWx0dWEuT2FrLkNvcmXtATwJAQEJABQDBfwB+gFTQWx0dWEuT2FrLkNvcmUuTW9kaWZpY2F0aW9uLlN0eWxpbmcuQWdlbmRhQ29sdW1uQ3VzdG9taXphdGlvblRhcmdldCwgQWx0dWEuT2FrLkNvcmX1AT4FBAMFgAL8AQIBAIACAwEBTA=="/>
  <p:tag name="GRUNT-VERSION" val="20.22.71.0"/>
  <p:tag name="GRUNT-SYNC" val="1fb4d2c468f645b89b96cca165f07b9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yN8eaHRTWOb7W6wQn.a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_vPzFlsWg7SeP0G6qM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w3MdHZvSTyEnFRdq83R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_VFYupgQ9ZftkN0kFA_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5NtKzPPRLdcVDIaxtYI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rHT3xEOByDiOg_cYru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lVl3O0EVCuOc_msUJ.P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bsrSzkejbgcmj5VKgAH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kJa.4VS6gl_6RGK040R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brP5r9uY__YDEyDPfHN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z4kfXV25i2SRbg6KH4g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XnbghCY4NTveCHql1G8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LFJa6zlbke2lq96qROx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RIuAOnjEWdMe8IA0SVQ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.sjG7k.ae2.UOCJK4uK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AEFmIPMamWMiOn1bDU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R6ce2tCw3EwOwm27n13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TCE5HcMPsZM8itIQNx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e662a2bb-5936-40da-b339-8a5fd706b73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ORJLDUsrEKl1_zErcMC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21f8f992-008a-4f88-ba2a-9e7ba04f14fb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0b7766ee-9bb1-4d14-9e0d-e071ac2281a3"/>
  <p:tag name="GRUNT-X-SHAPEBOUNDS" val="ASIBBAAAAAAAAG5AAAAAAAAgZEAAAAAAABh+QAAAAAAACHFAAA=="/>
  <p:tag name="GRUNT-X-PAGEOBJECT" val="AQUC4AMKQEFsdHVhLk9hay5Db3JlLkRvY3VtZW50TW9kZWwuQWdlbmRhQ2hhcHRlck9iamVjdCwgQWx0dWEuT2FrLkNvcmUFAiEEEgQQr3WRXKm7L02xU0koV8Mhwg0MFREFHRglHC0gMQEMCQUlCg0tChUxDRZQQWx0dWEuT2FrLkNvcmUuRG9jdW1lbnRNb2RlbC5UZW1wbGF0aW5nLkN1c3RvbVBvc2l0aW9uRGVmaW5pdGlvbiwgQWx0dWEuT2FrLkNvcmURBSQEIgEEAAAAAAAAbkAAAAAAAEBkQAAAAAAAAH5AAAAAAADgcEAYAgU4HAQEAgU8IAsFQAwFZW4tVVMVRCotQWx0dWEuRGF0YS5JbmZyYXN0cnVjdHVyZS5UZXh0UnVuLCBBbHR1YS5EYXRhJQogBBxOdW1lcmljYWwgRXhhbXBsZSBhbmQgUiBjb2RlDUgtCg8EC1Jlc3BvbnNpYmxlDUw2LkFsdHVhLkRhdGEuSW5mcmFzdHJ1Y3R1cmUuRW1wdHlSdW4sIEFsdHVhLkRhdGExDQA4ADwCAQBACQQBLgwBLBQBJEQJBAVlbi1VUwgASBQEABwAJAAsADQAPABEAgUATABUAEwUBAAcACQALAA0ADwARAIFAEwAVAA="/>
  <p:tag name="GRUNT-RENDERHASH" val="4d4ec85d99900d6e154d9669fd13ad69"/>
  <p:tag name="GRUNT-X-RESOURCES" val="AQIFBP0KBAQBAQkDDktBbHR1YS5PYWsuQ29yZS5SZXNvdXJjZXMuUmVzb3VyY2VJdGVtcy5BZ2VuZGFNYXN0ZXJSZXNvdXJjZSwgQWx0dWEuT2FrLkNvcmUJAw8EBBQCBRANFQYVHQgdJQoQECz4FiF6WEVEnPRnfhYYxtMaPUFsdHVhLk9hay5Db3JlLkFnZW5kYS5TdGFuZGFyZEFnZW5kYVN0cnVjdHVyZSwgQWx0dWEuT2FrLkNvcmUVBgIFLCI+QWx0dWEuT2FrLkNvcmUuQWdlbmRhLlZlcnRpY2FsTGlzdEFnZW5kYURlc2lnbiwgQWx0dWEuT2FrLkNvcmUdCAAqS0FsdHVhLk9hay5Db3JlLk1vZGlmaWNhdGlvbi5TdHlsaW5nLlN0YXRpY0FnZW5kYU9iamVjdFN0eWxlLCBBbHR1YS5PYWsuQ29yZSUKDgUwDTQVOB08JUAtRDVILAFMMAQEAgVQNAQEAgVUOAQEAgVYPAQEAgVcQAQEAgVgRAQEAgVkSAQEAgVoTBIEEGhv33b3Yx9EsIYpRL/SMblQAgEAVA0BCGxwdHh8gAGEAYgBWAIBAFwCAQBgAgEAZAQBAYwBaAIBAGwIBZEBJQ2ZASdwCAWRASUNoQEndAgFkQElDaUBJ3gIBZEBJQ2pASd8CAWRASUNrQEngAEIBZEBJQ2xASeEAQgFkQElDbUBJ4gBCAWRASUNuQEnjAEIBb0BMA3FATKWAVFBbHR1YS5PYWsuQ29yZS5Nb2RpZmljYXRpb24uU3R5bGluZy5UZXh0V2l0aGluQ3VzdG9taXphdGlvblRhcmdldCwgQWx0dWEuT2FrLkNvcmWRASUEBc0BMJ4BQkFsdHVhLk9hay5Db3JlLlN5bnRheFN0cnVjdHVyZS5BY3R1YWxGb250U2l6ZVZhbHVlLCBBbHR1YS5PYWsuQ29yZZkBJwkDAAAAAAAAKEChAScJAwAAAAAAACpApQEnCQMAAAAAAAAsQKkBJwkDAAAAAAAALkCtAScJAwAAAAAAADBAsQEnCQMAAAAAAAAxQLUBJwkDAAAAAAAAMkC5AScJAwAAAAAAADNAwgFVQWx0dWEuT2FrLkNvcmUuTW9kaWZpY2F0aW9uLlN0eWxpbmcuQWxsQ29tcG9zaXRpb25DdXN0b21pemF0aW9uVGFyZ2V0LCBBbHR1YS5PYWsuQ29yZb0BMAUEAwXQAcoBN0FsdHVhLk9hay5Db3JlLlRoZW1pbmcuUGFnZUNvbG9yUG9pbnRlciwgQWx0dWEuT2FrLkNvcmXFATIEAAEIAM0BMAUEAwXUAdABCAEC2QE34QE31AEIAQLlATrtATzeAVRBbHR1YS5PYWsuQ29yZS5Nb2RpZmljYXRpb24uU3R5bGluZy5EZXNjZW5kYW50c09mQ3VzdG9taXphdGlvblRhcmdldCwgQWx0dWEuT2FrLkNvcmXZATcEBfUBPuEBNwQF7QE86gFSQWx0dWEuT2FrLkNvcmUuTW9kaWZpY2F0aW9uLlN0eWxpbmcuTm9uR3JhcGhpY3NDdXN0b21pemF0aW9uVGFyZ2V0LCBBbHR1YS5PYWsuQ29yZeUBOgDyAVRBbHR1YS5PYWsuQ29yZS5Nb2RpZmljYXRpb24uU3R5bGluZy5BZ2VuZGFDaGFwdGVyQ3VzdG9taXphdGlvblRhcmdldCwgQWx0dWEuT2FrLkNvcmXtATwJAQEJABQDBfwB+gFTQWx0dWEuT2FrLkNvcmUuTW9kaWZpY2F0aW9uLlN0eWxpbmcuQWdlbmRhQ29sdW1uQ3VzdG9taXphdGlvblRhcmdldCwgQWx0dWEuT2FrLkNvcmX1AT4FBAMFgAL8AQIBAIACAwEBTA=="/>
  <p:tag name="GRUNT-VERSION" val="20.22.71.0"/>
  <p:tag name="GRUNT-SYNC" val="e99dad998e6f44689990c7f92fcd169b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hIQ2DuvJ5gwsBZYl8kQ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0uRZZwH13g6BvNtF_OD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eytTGU2OC8HyyTBLA_4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PR4xrNYwliUVZKo5_p_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yDY5_drPboy_2CXeaXc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Yy3G4vd6lLMPxMZTv51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fUdExdMjsw3j.IbNdn.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fUdExdMjsw3j.IbNdn.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u_BPqIQFVQK0vGSy3BF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u_DRuCKfr4Symkedbhb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dqwp.IBWay1ynRxjEFS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1WDNhUpSKgwP2N1n_Pc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mN8UIY7pKZzTWdvLYYD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SXLYRpqfzY2jZTv3Xv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0b7766ee-9bb1-4d14-9e0d-e071ac2281a3"/>
  <p:tag name="GRUNT-X-SHAPEBOUNDS" val="ASIBBAAAAAAAAG5AAAAAAAAgZEAAAAAAABh+QAAAAAAACHFAAA=="/>
  <p:tag name="GRUNT-X-PAGEOBJECT" val="AQUCywMKQEFsdHVhLk9hay5Db3JlLkRvY3VtZW50TW9kZWwuQWdlbmRhQ2hhcHRlck9iamVjdCwgQWx0dWEuT2FrLkNvcmUFAiEEEgQQ4KO5FNf6T0eV19hPCMPzWQ0MFREFHRglHC0gMQEMCQUlCg0tChUxDRZQQWx0dWEuT2FrLkNvcmUuRG9jdW1lbnRNb2RlbC5UZW1wbGF0aW5nLkN1c3RvbVBvc2l0aW9uRGVmaW5pdGlvbiwgQWx0dWEuT2FrLkNvcmURBSQEIgEEAAAAAAAAbkAAAAAAAEBkQAAAAAAAAH5AAAAAAADgcEAYAgU4HAQEAgU8IAsFQAwFZW4tVVMVRCotQWx0dWEuRGF0YS5JbmZyYXN0cnVjdHVyZS5UZXh0UnVuLCBBbHR1YS5EYXRhJQoLBAdDb250ZXh0DUgtCg8EC1Jlc3BvbnNpYmxlDUw2LkFsdHVhLkRhdGEuSW5mcmFzdHJ1Y3R1cmUuRW1wdHlSdW4sIEFsdHVhLkRhdGExDQA4ADwCAQBACQQBLgwBLBQBJEQJBAVlbi1VUwgASBQEABwAJAAsADQAPABEAgUATABUAEwUBAAcACQALAA0ADwARAIFAEwAVAA="/>
  <p:tag name="GRUNT-RENDERHASH" val="2031391930f3df5e60cf62e8b825ac5f"/>
  <p:tag name="GRUNT-X-RESOURCES" val="AQIFBP0KBAQBAQkDDktBbHR1YS5PYWsuQ29yZS5SZXNvdXJjZXMuUmVzb3VyY2VJdGVtcy5BZ2VuZGFNYXN0ZXJSZXNvdXJjZSwgQWx0dWEuT2FrLkNvcmUJAw8EBBQCBRANFQYVHQgdJQoQECz4FiF6WEVEnPRnfhYYxtMaPUFsdHVhLk9hay5Db3JlLkFnZW5kYS5TdGFuZGFyZEFnZW5kYVN0cnVjdHVyZSwgQWx0dWEuT2FrLkNvcmUVBgIFLCI+QWx0dWEuT2FrLkNvcmUuQWdlbmRhLlZlcnRpY2FsTGlzdEFnZW5kYURlc2lnbiwgQWx0dWEuT2FrLkNvcmUdCAAqS0FsdHVhLk9hay5Db3JlLk1vZGlmaWNhdGlvbi5TdHlsaW5nLlN0YXRpY0FnZW5kYU9iamVjdFN0eWxlLCBBbHR1YS5PYWsuQ29yZSUKDgUwDTQVOB08JUAtRDVILAFMMAQEAgVQNAQEAgVUOAQEAgVYPAQEAgVcQAQEAgVgRAQEAgVkSAQEAgVoTBIEEGhv33b3Yx9EsIYpRL/SMblQAgEAVA0BCGxwdHh8gAGEAYgBWAIBAFwCAQBgAgEAZAQBAYwBaAIBAGwIBZEBJQ2ZASdwCAWRASUNoQEndAgFkQElDaUBJ3gIBZEBJQ2pASd8CAWRASUNrQEngAEIBZEBJQ2xASeEAQgFkQElDbUBJ4gBCAWRASUNuQEnjAEIBb0BMA3FATKWAVFBbHR1YS5PYWsuQ29yZS5Nb2RpZmljYXRpb24uU3R5bGluZy5UZXh0V2l0aGluQ3VzdG9taXphdGlvblRhcmdldCwgQWx0dWEuT2FrLkNvcmWRASUEBc0BMJ4BQkFsdHVhLk9hay5Db3JlLlN5bnRheFN0cnVjdHVyZS5BY3R1YWxGb250U2l6ZVZhbHVlLCBBbHR1YS5PYWsuQ29yZZkBJwkDAAAAAAAAKEChAScJAwAAAAAAACpApQEnCQMAAAAAAAAsQKkBJwkDAAAAAAAALkCtAScJAwAAAAAAADBAsQEnCQMAAAAAAAAxQLUBJwkDAAAAAAAAMkC5AScJAwAAAAAAADNAwgFVQWx0dWEuT2FrLkNvcmUuTW9kaWZpY2F0aW9uLlN0eWxpbmcuQWxsQ29tcG9zaXRpb25DdXN0b21pemF0aW9uVGFyZ2V0LCBBbHR1YS5PYWsuQ29yZb0BMAUEAwXQAcoBN0FsdHVhLk9hay5Db3JlLlRoZW1pbmcuUGFnZUNvbG9yUG9pbnRlciwgQWx0dWEuT2FrLkNvcmXFATIEAAEIAM0BMAUEAwXUAdABCAEC2QE34QE31AEIAQLlATrtATzeAVRBbHR1YS5PYWsuQ29yZS5Nb2RpZmljYXRpb24uU3R5bGluZy5EZXNjZW5kYW50c09mQ3VzdG9taXphdGlvblRhcmdldCwgQWx0dWEuT2FrLkNvcmXZATcEBfUBPuEBNwQF7QE86gFSQWx0dWEuT2FrLkNvcmUuTW9kaWZpY2F0aW9uLlN0eWxpbmcuTm9uR3JhcGhpY3NDdXN0b21pemF0aW9uVGFyZ2V0LCBBbHR1YS5PYWsuQ29yZeUBOgDyAVRBbHR1YS5PYWsuQ29yZS5Nb2RpZmljYXRpb24uU3R5bGluZy5BZ2VuZGFDaGFwdGVyQ3VzdG9taXphdGlvblRhcmdldCwgQWx0dWEuT2FrLkNvcmXtATwJAQEJABQDBfwB+gFTQWx0dWEuT2FrLkNvcmUuTW9kaWZpY2F0aW9uLlN0eWxpbmcuQWdlbmRhQ29sdW1uQ3VzdG9taXphdGlvblRhcmdldCwgQWx0dWEuT2FrLkNvcmX1AT4FBAMFgAL8AQIBAIACAwEBTA=="/>
  <p:tag name="GRUNT-VERSION" val="20.22.71.0"/>
  <p:tag name="GRUNT-SYNC" val="5a0137e4d8334f3486aa377e9bc5f12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hZ2sF4G.urVb6.qM9c7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4XGAWdPSWHxYzO8TtEM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QOP5JwCceo0bNfapoL7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chCbRyLAHrHZ_tqm3.x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sKbJzhhNmWROlrcsxTo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KVTZxS43KjLjox5Y5zP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hIQ2DuvJ5gwsBZYl8kQ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YrFjALFdX.AY0wHkkL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0uRZZwH13g6BvNtF_OD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yDY5_drPboy_2CXeaXc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8yzKRewP8e73S2jju5Q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zyNSP17aAEpW26nNsxL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cFzEh27QeNcAkb4sSpm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Yy3G4vd6lLMPxMZTv51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fUdExdMjsw3j.IbNdn.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aef97e54-1481-42c8-ad0f-d3d6cfa9c059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0b7766ee-9bb1-4d14-9e0d-e071ac2281a3"/>
  <p:tag name="GRUNT-X-SHAPEBOUNDS" val="ASIBBAAAAAAAAG5AAAAAAAAgZEAAAAAAABh+QAAAAAAACHFAAA=="/>
  <p:tag name="GRUNT-RENDERHASH" val="a8729d09ef2e45d1b763ce87b324ef57"/>
  <p:tag name="GRUNT-X-PAGEOBJECT" val="AQUCywMKQEFsdHVhLk9hay5Db3JlLkRvY3VtZW50TW9kZWwuQWdlbmRhQ2hhcHRlck9iamVjdCwgQWx0dWEuT2FrLkNvcmUFAiEEEgQQOlb/RaXv4kCMi2MIZCv2Iw0MFREFHRglHC0gMQEMCQUlCg0tChUxDRZQQWx0dWEuT2FrLkNvcmUuRG9jdW1lbnRNb2RlbC5UZW1wbGF0aW5nLkN1c3RvbVBvc2l0aW9uRGVmaW5pdGlvbiwgQWx0dWEuT2FrLkNvcmURBSQEIgEEAAAAAAAAbkAAAAAAAEBkQAAAAAAAAH5AAAAAAADgcEAYAgU4HAQEAgU8IAsFQAwFZW4tVVMVRCotQWx0dWEuRGF0YS5JbmZyYXN0cnVjdHVyZS5UZXh0UnVuLCBBbHR1YS5EYXRhJQoLBAdTdW1tYXJ5DUgtCg8EC1Jlc3BvbnNpYmxlDUw2LkFsdHVhLkRhdGEuSW5mcmFzdHJ1Y3R1cmUuRW1wdHlSdW4sIEFsdHVhLkRhdGExDQA4ADwCAQBACQQBLgwBLBQBJEQJBAVlbi1VUwgASBQEABwAJAAsADQAPABEAgUATABUAEwUBAAcACQALAA0ADwARAIFAEwAVAA="/>
  <p:tag name="GRUNT-X-RESOURCES" val="AQIFBP0KBAQBAQkDDktBbHR1YS5PYWsuQ29yZS5SZXNvdXJjZXMuUmVzb3VyY2VJdGVtcy5BZ2VuZGFNYXN0ZXJSZXNvdXJjZSwgQWx0dWEuT2FrLkNvcmUJAw8EBBQCBRANFQYVHQgdJQoQECz4FiF6WEVEnPRnfhYYxtMaPUFsdHVhLk9hay5Db3JlLkFnZW5kYS5TdGFuZGFyZEFnZW5kYVN0cnVjdHVyZSwgQWx0dWEuT2FrLkNvcmUVBgIFLCI+QWx0dWEuT2FrLkNvcmUuQWdlbmRhLlZlcnRpY2FsTGlzdEFnZW5kYURlc2lnbiwgQWx0dWEuT2FrLkNvcmUdCAAqS0FsdHVhLk9hay5Db3JlLk1vZGlmaWNhdGlvbi5TdHlsaW5nLlN0YXRpY0FnZW5kYU9iamVjdFN0eWxlLCBBbHR1YS5PYWsuQ29yZSUKDgUwDTQVOB08JUAtRDVILAFMMAQEAgVQNAQEAgVUOAQEAgVYPAQEAgVcQAQEAgVgRAQEAgVkSAQEAgVoTBIEEGhv33b3Yx9EsIYpRL/SMblQAgEAVA0BCGxwdHh8gAGEAYgBWAIBAFwCAQBgAgEAZAQBAYwBaAIBAGwIBZEBJQ2ZASdwCAWRASUNoQEndAgFkQElDaUBJ3gIBZEBJQ2pASd8CAWRASUNrQEngAEIBZEBJQ2xASeEAQgFkQElDbUBJ4gBCAWRASUNuQEnjAEIBb0BMA3FATKWAVFBbHR1YS5PYWsuQ29yZS5Nb2RpZmljYXRpb24uU3R5bGluZy5UZXh0V2l0aGluQ3VzdG9taXphdGlvblRhcmdldCwgQWx0dWEuT2FrLkNvcmWRASUEBc0BMJ4BQkFsdHVhLk9hay5Db3JlLlN5bnRheFN0cnVjdHVyZS5BY3R1YWxGb250U2l6ZVZhbHVlLCBBbHR1YS5PYWsuQ29yZZkBJwkDAAAAAAAAKEChAScJAwAAAAAAACpApQEnCQMAAAAAAAAsQKkBJwkDAAAAAAAALkCtAScJAwAAAAAAADBAsQEnCQMAAAAAAAAxQLUBJwkDAAAAAAAAMkC5AScJAwAAAAAAADNAwgFVQWx0dWEuT2FrLkNvcmUuTW9kaWZpY2F0aW9uLlN0eWxpbmcuQWxsQ29tcG9zaXRpb25DdXN0b21pemF0aW9uVGFyZ2V0LCBBbHR1YS5PYWsuQ29yZb0BMAUEAwXQAcoBN0FsdHVhLk9hay5Db3JlLlRoZW1pbmcuUGFnZUNvbG9yUG9pbnRlciwgQWx0dWEuT2FrLkNvcmXFATIEAAEIAM0BMAUEAwXUAdABCAEC2QE34QE31AEIAQLlATrtATzeAVRBbHR1YS5PYWsuQ29yZS5Nb2RpZmljYXRpb24uU3R5bGluZy5EZXNjZW5kYW50c09mQ3VzdG9taXphdGlvblRhcmdldCwgQWx0dWEuT2FrLkNvcmXZATcEBfUBPuEBNwQF7QE86gFSQWx0dWEuT2FrLkNvcmUuTW9kaWZpY2F0aW9uLlN0eWxpbmcuTm9uR3JhcGhpY3NDdXN0b21pemF0aW9uVGFyZ2V0LCBBbHR1YS5PYWsuQ29yZeUBOgDyAVRBbHR1YS5PYWsuQ29yZS5Nb2RpZmljYXRpb24uU3R5bGluZy5BZ2VuZGFDaGFwdGVyQ3VzdG9taXphdGlvblRhcmdldCwgQWx0dWEuT2FrLkNvcmXtATwJAQEJABQDBfwB+gFTQWx0dWEuT2FrLkNvcmUuTW9kaWZpY2F0aW9uLlN0eWxpbmcuQWdlbmRhQ29sdW1uQ3VzdG9taXphdGlvblRhcmdldCwgQWx0dWEuT2FrLkNvcmX1AT4FBAMFgAL8AQIBAIACAwEBTA=="/>
  <p:tag name="GRUNT-VERSION" val="20.22.71.0"/>
  <p:tag name="GRUNT-SYNC" val="ee1dfe787c734e4ba1dbc9edbcb21969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et">
  <a:themeElements>
    <a:clrScheme name="Custom 5">
      <a:dk1>
        <a:srgbClr val="000000"/>
      </a:dk1>
      <a:lt1>
        <a:sysClr val="window" lastClr="FFFFFF"/>
      </a:lt1>
      <a:dk2>
        <a:srgbClr val="5E5E5E"/>
      </a:dk2>
      <a:lt2>
        <a:srgbClr val="DDDDDD"/>
      </a:lt2>
      <a:accent1>
        <a:srgbClr val="418AB3"/>
      </a:accent1>
      <a:accent2>
        <a:srgbClr val="80C535"/>
      </a:accent2>
      <a:accent3>
        <a:srgbClr val="F69200"/>
      </a:accent3>
      <a:accent4>
        <a:srgbClr val="838383"/>
      </a:accent4>
      <a:accent5>
        <a:srgbClr val="FEC306"/>
      </a:accent5>
      <a:accent6>
        <a:srgbClr val="DF5327"/>
      </a:accent6>
      <a:hlink>
        <a:srgbClr val="F59E00"/>
      </a:hlink>
      <a:folHlink>
        <a:srgbClr val="B2B2B2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6D020A6288464D9DEA501F1F86FAF3" ma:contentTypeVersion="13" ma:contentTypeDescription="Create a new document." ma:contentTypeScope="" ma:versionID="7b4859fed832eb2c25cbae7c6b98be07">
  <xsd:schema xmlns:xsd="http://www.w3.org/2001/XMLSchema" xmlns:xs="http://www.w3.org/2001/XMLSchema" xmlns:p="http://schemas.microsoft.com/office/2006/metadata/properties" xmlns:ns2="9a35e50e-dbb0-4923-bd14-3dbacfb790f0" xmlns:ns3="da30232a-29c5-4b2f-992e-5a8093996721" targetNamespace="http://schemas.microsoft.com/office/2006/metadata/properties" ma:root="true" ma:fieldsID="054eda8380dd4b73a53629fa06b64f7b" ns2:_="" ns3:_="">
    <xsd:import namespace="9a35e50e-dbb0-4923-bd14-3dbacfb790f0"/>
    <xsd:import namespace="da30232a-29c5-4b2f-992e-5a809399672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35e50e-dbb0-4923-bd14-3dbacfb790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30232a-29c5-4b2f-992e-5a8093996721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62EDE17-1D61-4A3A-9F74-89226B42E08C}">
  <ds:schemaRefs>
    <ds:schemaRef ds:uri="http://purl.org/dc/elements/1.1/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da30232a-29c5-4b2f-992e-5a8093996721"/>
    <ds:schemaRef ds:uri="9a35e50e-dbb0-4923-bd14-3dbacfb790f0"/>
    <ds:schemaRef ds:uri="http://schemas.openxmlformats.org/package/2006/metadata/core-properti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D923151C-A134-44F6-9570-966DA21C712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25B1755-12B6-4B08-B9B2-B34B7E90756D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9a35e50e-dbb0-4923-bd14-3dbacfb790f0"/>
    <ds:schemaRef ds:uri="da30232a-29c5-4b2f-992e-5a8093996721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60</TotalTime>
  <Words>1213</Words>
  <Application>Microsoft Office PowerPoint</Application>
  <PresentationFormat>Widescreen</PresentationFormat>
  <Paragraphs>225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3" baseType="lpstr">
      <vt:lpstr>Arial</vt:lpstr>
      <vt:lpstr>Calibri</vt:lpstr>
      <vt:lpstr>Calibri Light</vt:lpstr>
      <vt:lpstr>Cambria Math</vt:lpstr>
      <vt:lpstr>Courier New</vt:lpstr>
      <vt:lpstr>Oxygen</vt:lpstr>
      <vt:lpstr>Trebuchet MS</vt:lpstr>
      <vt:lpstr>Wingdings 3</vt:lpstr>
      <vt:lpstr>Facet</vt:lpstr>
      <vt:lpstr>Office Theme</vt:lpstr>
      <vt:lpstr>think-cell Slide</vt:lpstr>
      <vt:lpstr>PowerPoint Presentation</vt:lpstr>
      <vt:lpstr>What is the Length of Medication Therapy?  One-inflated Survival Model </vt:lpstr>
      <vt:lpstr>PowerPoint Presentation</vt:lpstr>
      <vt:lpstr>PowerPoint Presentation</vt:lpstr>
      <vt:lpstr>PowerPoint Presentation</vt:lpstr>
      <vt:lpstr>PowerPoint Presentation</vt:lpstr>
      <vt:lpstr>Answering the question</vt:lpstr>
      <vt:lpstr>Some issues corelated with steep 1st month drop</vt:lpstr>
      <vt:lpstr>PowerPoint Presentation</vt:lpstr>
      <vt:lpstr>Need a new probability distribution?  </vt:lpstr>
      <vt:lpstr>PowerPoint Presentation</vt:lpstr>
      <vt:lpstr>PowerPoint Presentation</vt:lpstr>
      <vt:lpstr>Our recommendation for f(t):  Exponential Gamma</vt:lpstr>
      <vt:lpstr>PowerPoint Presentation</vt:lpstr>
      <vt:lpstr>PowerPoint Presentation</vt:lpstr>
      <vt:lpstr>R code for replication</vt:lpstr>
      <vt:lpstr>Remaining life: If a patient stays for t* months, how many more months will the patient remain on therapy? </vt:lpstr>
      <vt:lpstr>Remaining life</vt:lpstr>
      <vt:lpstr>Remaining Life: Showing the linearity of both conditional residual metrics</vt:lpstr>
      <vt:lpstr>PowerPoint Presentation</vt:lpstr>
      <vt:lpstr>PowerPoint Presentation</vt:lpstr>
      <vt:lpstr>Prior Work and 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ina Pozielli</dc:creator>
  <cp:lastModifiedBy>Lee Ka Lok</cp:lastModifiedBy>
  <cp:revision>28</cp:revision>
  <dcterms:created xsi:type="dcterms:W3CDTF">2020-11-03T17:32:27Z</dcterms:created>
  <dcterms:modified xsi:type="dcterms:W3CDTF">2022-07-08T23:29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6D020A6288464D9DEA501F1F86FAF3</vt:lpwstr>
  </property>
</Properties>
</file>